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7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8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9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0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1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2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3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4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5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16.xml" ContentType="application/vnd.openxmlformats-officedocument.theme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17.xml" ContentType="application/vnd.openxmlformats-officedocument.them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  <p:sldMasterId id="2147483695" r:id="rId6"/>
    <p:sldMasterId id="2147483714" r:id="rId7"/>
    <p:sldMasterId id="2147483725" r:id="rId8"/>
    <p:sldMasterId id="2147483759" r:id="rId9"/>
    <p:sldMasterId id="2147483794" r:id="rId10"/>
    <p:sldMasterId id="2147483822" r:id="rId11"/>
    <p:sldMasterId id="2147483844" r:id="rId12"/>
    <p:sldMasterId id="2147483873" r:id="rId13"/>
    <p:sldMasterId id="2147483885" r:id="rId14"/>
    <p:sldMasterId id="2147483897" r:id="rId15"/>
    <p:sldMasterId id="2147483916" r:id="rId16"/>
    <p:sldMasterId id="2147483936" r:id="rId17"/>
    <p:sldMasterId id="2147483961" r:id="rId18"/>
    <p:sldMasterId id="2147483992" r:id="rId19"/>
    <p:sldMasterId id="2147484022" r:id="rId20"/>
    <p:sldMasterId id="2147484041" r:id="rId21"/>
  </p:sldMasterIdLst>
  <p:notesMasterIdLst>
    <p:notesMasterId r:id="rId52"/>
  </p:notesMasterIdLst>
  <p:sldIdLst>
    <p:sldId id="1486" r:id="rId22"/>
    <p:sldId id="1374" r:id="rId23"/>
    <p:sldId id="259" r:id="rId24"/>
    <p:sldId id="4353" r:id="rId25"/>
    <p:sldId id="1885" r:id="rId26"/>
    <p:sldId id="4351" r:id="rId27"/>
    <p:sldId id="4342" r:id="rId28"/>
    <p:sldId id="1652" r:id="rId29"/>
    <p:sldId id="4350" r:id="rId30"/>
    <p:sldId id="1873" r:id="rId31"/>
    <p:sldId id="274" r:id="rId32"/>
    <p:sldId id="4352" r:id="rId33"/>
    <p:sldId id="1877" r:id="rId34"/>
    <p:sldId id="272" r:id="rId35"/>
    <p:sldId id="1653" r:id="rId36"/>
    <p:sldId id="1890" r:id="rId37"/>
    <p:sldId id="310" r:id="rId38"/>
    <p:sldId id="311" r:id="rId39"/>
    <p:sldId id="4344" r:id="rId40"/>
    <p:sldId id="303" r:id="rId41"/>
    <p:sldId id="305" r:id="rId42"/>
    <p:sldId id="4346" r:id="rId43"/>
    <p:sldId id="4368" r:id="rId44"/>
    <p:sldId id="1881" r:id="rId45"/>
    <p:sldId id="300" r:id="rId46"/>
    <p:sldId id="1514" r:id="rId47"/>
    <p:sldId id="1509" r:id="rId48"/>
    <p:sldId id="4366" r:id="rId49"/>
    <p:sldId id="1760" r:id="rId50"/>
    <p:sldId id="1392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0086AC"/>
    <a:srgbClr val="E2F2FF"/>
    <a:srgbClr val="E7EC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50" Type="http://schemas.openxmlformats.org/officeDocument/2006/relationships/slide" Target="slides/slide29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0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20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slide" Target="slides/slide2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A1EE25-B261-40F1-81DC-C22CA2FC3D9C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B4578D-97F1-4707-8C41-133C28C5E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963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6/23/2019 10:06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911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1084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1CD80A-2C6F-4E39-942E-4436C667F5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891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6310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3/2019 10:06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2064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3/2019 10:06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1200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3/2019 10:06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15096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Build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3/2019 10:06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0262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0074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8305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3/2019 10:06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7700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69BD2-67F6-43A1-A2DB-9D24960C08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0042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96E846-FBBA-46E2-AEC6-4A01A340372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01480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2771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3/2019 10:06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2353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6/23/2019 10:06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5426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3/2019 10:06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46289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A17D118-1690-458F-B4D2-F9DA5D6F5033}" type="datetime8">
              <a:rPr lang="en-US" smtClean="0">
                <a:solidFill>
                  <a:prstClr val="black"/>
                </a:solidFill>
              </a:rPr>
              <a:pPr/>
              <a:t>6/23/2019 10:06 AM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3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66786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69BD2-67F6-43A1-A2DB-9D24960C08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49109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3/2019 10:06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7491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3/2019 10:06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086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4306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162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3/2019 10:06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5208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7954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6.png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5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5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1.jp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1.jpg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4.pn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7.png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8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2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2095308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85824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39546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89160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976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68436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8833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542910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020396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1707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47413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2864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97689522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0888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229295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20772" y="2291365"/>
            <a:ext cx="10249783" cy="1009695"/>
            <a:chOff x="1041241" y="2198265"/>
            <a:chExt cx="10455312" cy="1029795"/>
          </a:xfrm>
        </p:grpSpPr>
        <p:sp>
          <p:nvSpPr>
            <p:cNvPr id="3" name="laptop"/>
            <p:cNvSpPr>
              <a:spLocks noChangeAspect="1" noEditPoints="1"/>
            </p:cNvSpPr>
            <p:nvPr userDrawn="1"/>
          </p:nvSpPr>
          <p:spPr bwMode="auto">
            <a:xfrm>
              <a:off x="9891754" y="2198265"/>
              <a:ext cx="1417556" cy="843914"/>
            </a:xfrm>
            <a:custGeom>
              <a:avLst/>
              <a:gdLst>
                <a:gd name="T0" fmla="*/ 212 w 257"/>
                <a:gd name="T1" fmla="*/ 107 h 153"/>
                <a:gd name="T2" fmla="*/ 43 w 257"/>
                <a:gd name="T3" fmla="*/ 107 h 153"/>
                <a:gd name="T4" fmla="*/ 43 w 257"/>
                <a:gd name="T5" fmla="*/ 0 h 153"/>
                <a:gd name="T6" fmla="*/ 212 w 257"/>
                <a:gd name="T7" fmla="*/ 0 h 153"/>
                <a:gd name="T8" fmla="*/ 212 w 257"/>
                <a:gd name="T9" fmla="*/ 107 h 153"/>
                <a:gd name="T10" fmla="*/ 43 w 257"/>
                <a:gd name="T11" fmla="*/ 107 h 153"/>
                <a:gd name="T12" fmla="*/ 0 w 257"/>
                <a:gd name="T13" fmla="*/ 153 h 153"/>
                <a:gd name="T14" fmla="*/ 257 w 257"/>
                <a:gd name="T15" fmla="*/ 153 h 153"/>
                <a:gd name="T16" fmla="*/ 212 w 257"/>
                <a:gd name="T17" fmla="*/ 10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153">
                  <a:moveTo>
                    <a:pt x="212" y="107"/>
                  </a:moveTo>
                  <a:lnTo>
                    <a:pt x="43" y="107"/>
                  </a:lnTo>
                  <a:lnTo>
                    <a:pt x="43" y="0"/>
                  </a:lnTo>
                  <a:lnTo>
                    <a:pt x="212" y="0"/>
                  </a:lnTo>
                  <a:lnTo>
                    <a:pt x="212" y="107"/>
                  </a:lnTo>
                  <a:moveTo>
                    <a:pt x="43" y="107"/>
                  </a:moveTo>
                  <a:lnTo>
                    <a:pt x="0" y="153"/>
                  </a:lnTo>
                  <a:lnTo>
                    <a:pt x="257" y="153"/>
                  </a:lnTo>
                  <a:lnTo>
                    <a:pt x="212" y="10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" name="phone"/>
            <p:cNvSpPr>
              <a:spLocks noChangeAspect="1" noEditPoints="1"/>
            </p:cNvSpPr>
            <p:nvPr userDrawn="1"/>
          </p:nvSpPr>
          <p:spPr bwMode="auto">
            <a:xfrm>
              <a:off x="4177456" y="2253648"/>
              <a:ext cx="473065" cy="757539"/>
            </a:xfrm>
            <a:custGeom>
              <a:avLst/>
              <a:gdLst>
                <a:gd name="T0" fmla="*/ 148 w 148"/>
                <a:gd name="T1" fmla="*/ 112 h 237"/>
                <a:gd name="T2" fmla="*/ 148 w 148"/>
                <a:gd name="T3" fmla="*/ 237 h 237"/>
                <a:gd name="T4" fmla="*/ 0 w 148"/>
                <a:gd name="T5" fmla="*/ 237 h 237"/>
                <a:gd name="T6" fmla="*/ 0 w 148"/>
                <a:gd name="T7" fmla="*/ 0 h 237"/>
                <a:gd name="T8" fmla="*/ 148 w 148"/>
                <a:gd name="T9" fmla="*/ 0 h 237"/>
                <a:gd name="T10" fmla="*/ 148 w 148"/>
                <a:gd name="T11" fmla="*/ 112 h 237"/>
                <a:gd name="T12" fmla="*/ 0 w 148"/>
                <a:gd name="T13" fmla="*/ 29 h 237"/>
                <a:gd name="T14" fmla="*/ 148 w 148"/>
                <a:gd name="T15" fmla="*/ 29 h 237"/>
                <a:gd name="T16" fmla="*/ 0 w 148"/>
                <a:gd name="T17" fmla="*/ 172 h 237"/>
                <a:gd name="T18" fmla="*/ 148 w 148"/>
                <a:gd name="T19" fmla="*/ 172 h 237"/>
                <a:gd name="T20" fmla="*/ 66 w 148"/>
                <a:gd name="T21" fmla="*/ 204 h 237"/>
                <a:gd name="T22" fmla="*/ 82 w 148"/>
                <a:gd name="T23" fmla="*/ 20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37">
                  <a:moveTo>
                    <a:pt x="148" y="112"/>
                  </a:moveTo>
                  <a:lnTo>
                    <a:pt x="148" y="237"/>
                  </a:lnTo>
                  <a:lnTo>
                    <a:pt x="0" y="237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112"/>
                  </a:lnTo>
                  <a:moveTo>
                    <a:pt x="0" y="29"/>
                  </a:moveTo>
                  <a:lnTo>
                    <a:pt x="148" y="29"/>
                  </a:lnTo>
                  <a:moveTo>
                    <a:pt x="0" y="172"/>
                  </a:moveTo>
                  <a:lnTo>
                    <a:pt x="148" y="172"/>
                  </a:lnTo>
                  <a:moveTo>
                    <a:pt x="66" y="204"/>
                  </a:moveTo>
                  <a:lnTo>
                    <a:pt x="82" y="20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tablet_2"/>
            <p:cNvSpPr>
              <a:spLocks noChangeAspect="1" noEditPoints="1"/>
            </p:cNvSpPr>
            <p:nvPr userDrawn="1"/>
          </p:nvSpPr>
          <p:spPr bwMode="auto">
            <a:xfrm>
              <a:off x="6815622" y="2222769"/>
              <a:ext cx="1118473" cy="819293"/>
            </a:xfrm>
            <a:custGeom>
              <a:avLst/>
              <a:gdLst>
                <a:gd name="T0" fmla="*/ 243 w 243"/>
                <a:gd name="T1" fmla="*/ 83 h 178"/>
                <a:gd name="T2" fmla="*/ 243 w 243"/>
                <a:gd name="T3" fmla="*/ 178 h 178"/>
                <a:gd name="T4" fmla="*/ 0 w 243"/>
                <a:gd name="T5" fmla="*/ 178 h 178"/>
                <a:gd name="T6" fmla="*/ 0 w 243"/>
                <a:gd name="T7" fmla="*/ 0 h 178"/>
                <a:gd name="T8" fmla="*/ 243 w 243"/>
                <a:gd name="T9" fmla="*/ 0 h 178"/>
                <a:gd name="T10" fmla="*/ 243 w 243"/>
                <a:gd name="T11" fmla="*/ 83 h 178"/>
                <a:gd name="T12" fmla="*/ 113 w 243"/>
                <a:gd name="T13" fmla="*/ 147 h 178"/>
                <a:gd name="T14" fmla="*/ 129 w 243"/>
                <a:gd name="T15" fmla="*/ 14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78">
                  <a:moveTo>
                    <a:pt x="243" y="83"/>
                  </a:moveTo>
                  <a:lnTo>
                    <a:pt x="243" y="178"/>
                  </a:lnTo>
                  <a:lnTo>
                    <a:pt x="0" y="178"/>
                  </a:lnTo>
                  <a:lnTo>
                    <a:pt x="0" y="0"/>
                  </a:lnTo>
                  <a:lnTo>
                    <a:pt x="243" y="0"/>
                  </a:lnTo>
                  <a:lnTo>
                    <a:pt x="243" y="83"/>
                  </a:lnTo>
                  <a:moveTo>
                    <a:pt x="113" y="147"/>
                  </a:moveTo>
                  <a:lnTo>
                    <a:pt x="129" y="14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camera"/>
            <p:cNvSpPr>
              <a:spLocks noChangeAspect="1" noEditPoints="1"/>
            </p:cNvSpPr>
            <p:nvPr userDrawn="1"/>
          </p:nvSpPr>
          <p:spPr bwMode="auto">
            <a:xfrm>
              <a:off x="1041241" y="2295852"/>
              <a:ext cx="842296" cy="673131"/>
            </a:xfrm>
            <a:custGeom>
              <a:avLst/>
              <a:gdLst>
                <a:gd name="T0" fmla="*/ 0 w 330"/>
                <a:gd name="T1" fmla="*/ 24 h 264"/>
                <a:gd name="T2" fmla="*/ 87 w 330"/>
                <a:gd name="T3" fmla="*/ 24 h 264"/>
                <a:gd name="T4" fmla="*/ 111 w 330"/>
                <a:gd name="T5" fmla="*/ 0 h 264"/>
                <a:gd name="T6" fmla="*/ 217 w 330"/>
                <a:gd name="T7" fmla="*/ 0 h 264"/>
                <a:gd name="T8" fmla="*/ 242 w 330"/>
                <a:gd name="T9" fmla="*/ 24 h 264"/>
                <a:gd name="T10" fmla="*/ 330 w 330"/>
                <a:gd name="T11" fmla="*/ 24 h 264"/>
                <a:gd name="T12" fmla="*/ 330 w 330"/>
                <a:gd name="T13" fmla="*/ 264 h 264"/>
                <a:gd name="T14" fmla="*/ 0 w 330"/>
                <a:gd name="T15" fmla="*/ 264 h 264"/>
                <a:gd name="T16" fmla="*/ 0 w 330"/>
                <a:gd name="T17" fmla="*/ 24 h 264"/>
                <a:gd name="T18" fmla="*/ 165 w 330"/>
                <a:gd name="T19" fmla="*/ 221 h 264"/>
                <a:gd name="T20" fmla="*/ 242 w 330"/>
                <a:gd name="T21" fmla="*/ 144 h 264"/>
                <a:gd name="T22" fmla="*/ 165 w 330"/>
                <a:gd name="T23" fmla="*/ 67 h 264"/>
                <a:gd name="T24" fmla="*/ 88 w 330"/>
                <a:gd name="T25" fmla="*/ 144 h 264"/>
                <a:gd name="T26" fmla="*/ 165 w 330"/>
                <a:gd name="T27" fmla="*/ 221 h 264"/>
                <a:gd name="T28" fmla="*/ 42 w 330"/>
                <a:gd name="T29" fmla="*/ 73 h 264"/>
                <a:gd name="T30" fmla="*/ 48 w 330"/>
                <a:gd name="T31" fmla="*/ 67 h 264"/>
                <a:gd name="T32" fmla="*/ 42 w 330"/>
                <a:gd name="T33" fmla="*/ 61 h 264"/>
                <a:gd name="T34" fmla="*/ 36 w 330"/>
                <a:gd name="T35" fmla="*/ 67 h 264"/>
                <a:gd name="T36" fmla="*/ 42 w 330"/>
                <a:gd name="T37" fmla="*/ 7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264">
                  <a:moveTo>
                    <a:pt x="0" y="24"/>
                  </a:moveTo>
                  <a:cubicBezTo>
                    <a:pt x="87" y="24"/>
                    <a:pt x="87" y="24"/>
                    <a:pt x="87" y="2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42" y="24"/>
                    <a:pt x="242" y="24"/>
                    <a:pt x="242" y="24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64"/>
                    <a:pt x="330" y="264"/>
                    <a:pt x="330" y="264"/>
                  </a:cubicBezTo>
                  <a:cubicBezTo>
                    <a:pt x="0" y="264"/>
                    <a:pt x="0" y="264"/>
                    <a:pt x="0" y="264"/>
                  </a:cubicBezTo>
                  <a:lnTo>
                    <a:pt x="0" y="24"/>
                  </a:lnTo>
                  <a:close/>
                  <a:moveTo>
                    <a:pt x="165" y="221"/>
                  </a:moveTo>
                  <a:cubicBezTo>
                    <a:pt x="208" y="221"/>
                    <a:pt x="242" y="187"/>
                    <a:pt x="242" y="144"/>
                  </a:cubicBezTo>
                  <a:cubicBezTo>
                    <a:pt x="242" y="101"/>
                    <a:pt x="208" y="67"/>
                    <a:pt x="165" y="67"/>
                  </a:cubicBezTo>
                  <a:cubicBezTo>
                    <a:pt x="123" y="67"/>
                    <a:pt x="88" y="101"/>
                    <a:pt x="88" y="144"/>
                  </a:cubicBezTo>
                  <a:cubicBezTo>
                    <a:pt x="88" y="187"/>
                    <a:pt x="123" y="221"/>
                    <a:pt x="165" y="221"/>
                  </a:cubicBezTo>
                  <a:close/>
                  <a:moveTo>
                    <a:pt x="42" y="73"/>
                  </a:moveTo>
                  <a:cubicBezTo>
                    <a:pt x="45" y="73"/>
                    <a:pt x="48" y="70"/>
                    <a:pt x="48" y="67"/>
                  </a:cubicBezTo>
                  <a:cubicBezTo>
                    <a:pt x="48" y="64"/>
                    <a:pt x="45" y="61"/>
                    <a:pt x="42" y="61"/>
                  </a:cubicBezTo>
                  <a:cubicBezTo>
                    <a:pt x="38" y="61"/>
                    <a:pt x="36" y="64"/>
                    <a:pt x="36" y="67"/>
                  </a:cubicBezTo>
                  <a:cubicBezTo>
                    <a:pt x="36" y="70"/>
                    <a:pt x="38" y="73"/>
                    <a:pt x="42" y="7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Multiplication Sign 8"/>
            <p:cNvSpPr/>
            <p:nvPr userDrawn="1"/>
          </p:nvSpPr>
          <p:spPr bwMode="auto">
            <a:xfrm>
              <a:off x="1654939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Multiplication Sign 9"/>
            <p:cNvSpPr/>
            <p:nvPr userDrawn="1"/>
          </p:nvSpPr>
          <p:spPr bwMode="auto">
            <a:xfrm>
              <a:off x="4406053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Multiplication Sign 10"/>
            <p:cNvSpPr/>
            <p:nvPr userDrawn="1"/>
          </p:nvSpPr>
          <p:spPr bwMode="auto">
            <a:xfrm>
              <a:off x="770332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Multiplication Sign 12"/>
            <p:cNvSpPr/>
            <p:nvPr userDrawn="1"/>
          </p:nvSpPr>
          <p:spPr bwMode="auto">
            <a:xfrm>
              <a:off x="1103935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629379" y="4403248"/>
            <a:ext cx="10933243" cy="2163685"/>
          </a:xfrm>
          <a:prstGeom prst="rect">
            <a:avLst/>
          </a:prstGeom>
          <a:noFill/>
        </p:spPr>
        <p:txBody>
          <a:bodyPr wrap="none" lIns="179285" tIns="143428" rIns="179285" bIns="143428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</p:spTree>
    <p:extLst>
      <p:ext uri="{BB962C8B-B14F-4D97-AF65-F5344CB8AC3E}">
        <p14:creationId xmlns:p14="http://schemas.microsoft.com/office/powerpoint/2010/main" val="1833391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035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640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4061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83472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1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237240"/>
            <a:ext cx="12192000" cy="2441438"/>
          </a:xfrm>
          <a:prstGeom prst="rect">
            <a:avLst/>
          </a:prstGeom>
        </p:spPr>
        <p:txBody>
          <a:bodyPr lIns="182880" tIns="182880" rIns="182880" bIns="182880"/>
          <a:lstStyle>
            <a:lvl1pPr marL="0" indent="0">
              <a:spcBef>
                <a:spcPts val="1333"/>
              </a:spcBef>
              <a:buFont typeface="Arial"/>
              <a:buNone/>
              <a:defRPr sz="3200" baseline="0">
                <a:solidFill>
                  <a:schemeClr val="tx1"/>
                </a:solidFill>
                <a:latin typeface="Segoe UI Light"/>
                <a:cs typeface="Segoe UI Light"/>
              </a:defRPr>
            </a:lvl1pPr>
            <a:lvl2pPr marL="883729" indent="-457101">
              <a:spcBef>
                <a:spcPts val="1333"/>
              </a:spcBef>
              <a:buFont typeface="Arial" panose="020B0604020202020204" pitchFamily="34" charset="0"/>
              <a:buChar char="•"/>
              <a:defRPr sz="3200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1218935">
              <a:spcBef>
                <a:spcPts val="1333"/>
              </a:spcBef>
              <a:buFont typeface="Arial"/>
              <a:buChar char="•"/>
              <a:defRPr sz="2932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706509">
              <a:spcBef>
                <a:spcPts val="1333"/>
              </a:spcBef>
              <a:buFont typeface="Arial"/>
              <a:buChar char="•"/>
              <a:defRPr sz="2666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1950296" indent="243787">
              <a:spcBef>
                <a:spcPts val="1333"/>
              </a:spcBef>
              <a:buFont typeface="Arial"/>
              <a:buChar char="•"/>
              <a:tabLst>
                <a:tab pos="2135254" algn="l"/>
              </a:tabLst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1"/>
            <a:r>
              <a:rPr lang="en-US"/>
              <a:t>Bullet first level</a:t>
            </a:r>
          </a:p>
          <a:p>
            <a:pPr lvl="2"/>
            <a:r>
              <a:rPr lang="en-US"/>
              <a:t>Bullet second level</a:t>
            </a:r>
          </a:p>
          <a:p>
            <a:pPr lvl="3"/>
            <a:r>
              <a:rPr lang="en-US"/>
              <a:t>Bullet third level</a:t>
            </a:r>
          </a:p>
          <a:p>
            <a:pPr lvl="4"/>
            <a:r>
              <a:rPr lang="en-US"/>
              <a:t>Bullet fourth level</a:t>
            </a:r>
          </a:p>
        </p:txBody>
      </p:sp>
      <p:sp>
        <p:nvSpPr>
          <p:cNvPr id="20" name="Title 1"/>
          <p:cNvSpPr>
            <a:spLocks noGrp="1" noChangeAspect="1"/>
          </p:cNvSpPr>
          <p:nvPr>
            <p:ph type="title"/>
          </p:nvPr>
        </p:nvSpPr>
        <p:spPr>
          <a:xfrm>
            <a:off x="139021" y="-2"/>
            <a:ext cx="12052979" cy="1211893"/>
          </a:xfrm>
          <a:prstGeom prst="rect">
            <a:avLst/>
          </a:prstGeom>
        </p:spPr>
        <p:txBody>
          <a:bodyPr lIns="91440" tIns="91440" bIns="91440" anchor="ctr"/>
          <a:lstStyle>
            <a:lvl1pPr algn="l">
              <a:defRPr sz="5332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264777" y="6461377"/>
            <a:ext cx="1684867" cy="16741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243854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35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24" indent="0" algn="ctr">
              <a:buNone/>
              <a:defRPr sz="2000"/>
            </a:lvl2pPr>
            <a:lvl3pPr marL="914246" indent="0" algn="ctr">
              <a:buNone/>
              <a:defRPr sz="1800"/>
            </a:lvl3pPr>
            <a:lvl4pPr marL="1371370" indent="0" algn="ctr">
              <a:buNone/>
              <a:defRPr sz="1600"/>
            </a:lvl4pPr>
            <a:lvl5pPr marL="1828494" indent="0" algn="ctr">
              <a:buNone/>
              <a:defRPr sz="1600"/>
            </a:lvl5pPr>
            <a:lvl6pPr marL="2285617" indent="0" algn="ctr">
              <a:buNone/>
              <a:defRPr sz="1600"/>
            </a:lvl6pPr>
            <a:lvl7pPr marL="2742740" indent="0" algn="ctr">
              <a:buNone/>
              <a:defRPr sz="1600"/>
            </a:lvl7pPr>
            <a:lvl8pPr marL="3199864" indent="0" algn="ctr">
              <a:buNone/>
              <a:defRPr sz="1600"/>
            </a:lvl8pPr>
            <a:lvl9pPr marL="365698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498">
              <a:defRPr/>
            </a:pPr>
            <a:fld id="{1C08D212-65BB-4ACD-9568-9335E47E0F62}" type="datetimeFigureOut">
              <a:rPr lang="en-US" sz="2400" smtClean="0">
                <a:solidFill>
                  <a:srgbClr val="404040"/>
                </a:solidFill>
                <a:latin typeface="Segoe UI"/>
              </a:rPr>
              <a:pPr defTabSz="609498">
                <a:defRPr/>
              </a:pPr>
              <a:t>6/23/2019</a:t>
            </a:fld>
            <a:endParaRPr lang="en-US" sz="240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498">
              <a:defRPr/>
            </a:pPr>
            <a:endParaRPr lang="en-US" sz="240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498">
              <a:defRPr/>
            </a:pPr>
            <a:fld id="{5FA75C71-C1E2-4770-9019-E1F3F9F7A94A}" type="slidenum">
              <a:rPr lang="en-US" sz="2400" smtClean="0">
                <a:solidFill>
                  <a:srgbClr val="404040"/>
                </a:solidFill>
                <a:latin typeface="Segoe UI"/>
              </a:rPr>
              <a:pPr defTabSz="609498">
                <a:defRPr/>
              </a:pPr>
              <a:t>‹#›</a:t>
            </a:fld>
            <a:endParaRPr lang="en-US" sz="2400">
              <a:solidFill>
                <a:srgbClr val="40404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5762395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43030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4924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129868" y="5984140"/>
            <a:ext cx="1607625" cy="40344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46613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366941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3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677168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4" y="2084173"/>
            <a:ext cx="9860672" cy="1793104"/>
          </a:xfrm>
        </p:spPr>
        <p:txBody>
          <a:bodyPr/>
          <a:lstStyle>
            <a:lvl1pPr>
              <a:defRPr sz="4705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8357817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6916805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00"/>
              </a:spcAft>
              <a:buNone/>
              <a:defRPr lang="en-US" sz="352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669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2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69242" y="291070"/>
            <a:ext cx="11653522" cy="896552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0855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39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316178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504822"/>
          </a:xfrm>
        </p:spPr>
        <p:txBody>
          <a:bodyPr>
            <a:spAutoFit/>
          </a:bodyPr>
          <a:lstStyle>
            <a:lvl1pPr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691" indent="-236546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184" indent="-336145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1"/>
            </a:lvl4pPr>
            <a:lvl5pPr>
              <a:defRPr sz="1961"/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9070317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041517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910861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095548" y="2425049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2549734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5" y="3085694"/>
            <a:ext cx="3227129" cy="68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262390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69239" y="2262478"/>
            <a:ext cx="1532465" cy="316989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51737" y="2256322"/>
            <a:ext cx="3169353" cy="31822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095785" y="2257102"/>
            <a:ext cx="3826977" cy="318064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076404" y="2256137"/>
            <a:ext cx="2300636" cy="318257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20368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3786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6702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E43C2CD-916E-4E61-8E92-0D1F209EB455}" type="datetimeFigureOut">
              <a:rPr lang="en-US" smtClean="0">
                <a:solidFill>
                  <a:srgbClr val="404040"/>
                </a:solidFill>
              </a:rPr>
              <a:pPr/>
              <a:t>6/23/2019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2136CA9-023A-4D49-821B-11EF8521ACEE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22403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1">
    <p:bg>
      <p:bgPr>
        <a:solidFill>
          <a:srgbClr val="2428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571732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89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3720114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4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6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6" y="259969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6" y="337802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38" tIns="143391" rIns="179238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4244524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4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8" y="259969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8" y="337802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38" tIns="143391" rIns="179238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764801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528482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2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471080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0159805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9870134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0" b="0">
                <a:latin typeface="+mn-lt"/>
              </a:defRPr>
            </a:lvl1pPr>
            <a:lvl2pPr marL="250478" indent="0">
              <a:buFont typeface="Wingdings" panose="05000000000000000000" pitchFamily="2" charset="2"/>
              <a:buNone/>
              <a:defRPr sz="2352" b="0"/>
            </a:lvl2pPr>
            <a:lvl3pPr marL="441835" indent="0">
              <a:buFont typeface="Wingdings" panose="05000000000000000000" pitchFamily="2" charset="2"/>
              <a:buNone/>
              <a:tabLst/>
              <a:defRPr sz="2156" b="0"/>
            </a:lvl3pPr>
            <a:lvl4pPr marL="639416" indent="0">
              <a:buFont typeface="Wingdings" panose="05000000000000000000" pitchFamily="2" charset="2"/>
              <a:buNone/>
              <a:defRPr sz="2156" b="0"/>
            </a:lvl4pPr>
            <a:lvl5pPr marL="836999" indent="0">
              <a:buFont typeface="Wingdings" panose="05000000000000000000" pitchFamily="2" charset="2"/>
              <a:buNone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78" indent="0">
              <a:buFont typeface="Arial" panose="020B0604020202020204" pitchFamily="34" charset="0"/>
              <a:buNone/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35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16" indent="0">
              <a:buFont typeface="Arial" panose="020B0604020202020204" pitchFamily="34" charset="0"/>
              <a:buNone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999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66" marR="0" lvl="0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66" marR="0" lvl="1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66" marR="0" lvl="2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66" marR="0" lvl="3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66" marR="0" lvl="4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3119740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141" indent="-227141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0" b="0">
                <a:latin typeface="+mn-lt"/>
              </a:defRPr>
            </a:lvl1pPr>
            <a:lvl2pPr marL="418499" indent="-168022">
              <a:buFont typeface="Wingdings" panose="05000000000000000000" pitchFamily="2" charset="2"/>
              <a:buChar char=""/>
              <a:defRPr sz="2352" b="0"/>
            </a:lvl2pPr>
            <a:lvl3pPr marL="626972" indent="-185135">
              <a:buFont typeface="Wingdings" panose="05000000000000000000" pitchFamily="2" charset="2"/>
              <a:buChar char=""/>
              <a:tabLst/>
              <a:defRPr sz="2156" b="0"/>
            </a:lvl3pPr>
            <a:lvl4pPr marL="812106" indent="-172690">
              <a:buFont typeface="Wingdings" panose="05000000000000000000" pitchFamily="2" charset="2"/>
              <a:buChar char=""/>
              <a:defRPr sz="2156" b="0"/>
            </a:lvl4pPr>
            <a:lvl5pPr marL="1003465" indent="-166467">
              <a:buFont typeface="Wingdings" panose="05000000000000000000" pitchFamily="2" charset="2"/>
              <a:buChar char=""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22" indent="-336044"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880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460" indent="-336044"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043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41" marR="0" lvl="0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41" marR="0" lvl="1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41" marR="0" lvl="2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41" marR="0" lvl="3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41" marR="0" lvl="4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8905309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7573049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93079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7412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76145827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31686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0222918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5817003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41382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0" tIns="45710" rIns="4571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spcBef>
                <a:spcPct val="0"/>
              </a:spcBef>
              <a:spcAft>
                <a:spcPct val="0"/>
              </a:spcAft>
            </a:pPr>
            <a:endParaRPr lang="en-US" sz="176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2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2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1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7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98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25255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79238" rIns="179238" bIns="179238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389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3" y="2746096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6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63857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cap="none" spc="-98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69303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4B2448B7-4736-40F6-B6E5-8B83FDA251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3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741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8" y="286381"/>
            <a:ext cx="11653523" cy="927940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3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2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59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213049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44" indent="0">
              <a:buNone/>
              <a:defRPr/>
            </a:lvl3pPr>
            <a:lvl4pPr marL="447887" indent="0">
              <a:buNone/>
              <a:defRPr/>
            </a:lvl4pPr>
            <a:lvl5pPr marL="67183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1198220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0491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1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1" y="3977148"/>
            <a:ext cx="355097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4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 Semilight" panose="020B04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6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587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843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599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2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9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3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1999">
                <a:latin typeface="+mn-lt"/>
              </a:defRPr>
            </a:lvl1pPr>
            <a:lvl2pPr marL="228531" indent="0">
              <a:buNone/>
              <a:defRPr/>
            </a:lvl2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888695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1"/>
            <a:ext cx="11018520" cy="1612493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531" indent="0">
              <a:buNone/>
              <a:defRPr/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238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1" y="1435498"/>
            <a:ext cx="11018520" cy="16124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29390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11" indent="0">
              <a:buFont typeface="Wingdings" panose="05000000000000000000" pitchFamily="2" charset="2"/>
              <a:buNone/>
              <a:defRPr sz="1999" b="0"/>
            </a:lvl2pPr>
            <a:lvl3pPr marL="450715" indent="0">
              <a:buFont typeface="Wingdings" panose="05000000000000000000" pitchFamily="2" charset="2"/>
              <a:buNone/>
              <a:tabLst/>
              <a:defRPr sz="1600" b="0"/>
            </a:lvl3pPr>
            <a:lvl4pPr marL="652266" indent="0">
              <a:buFont typeface="Wingdings" panose="05000000000000000000" pitchFamily="2" charset="2"/>
              <a:buNone/>
              <a:defRPr sz="1400" b="0"/>
            </a:lvl4pPr>
            <a:lvl5pPr marL="853819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2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11" indent="0">
              <a:buFont typeface="Wingdings" panose="05000000000000000000" pitchFamily="2" charset="2"/>
              <a:buNone/>
              <a:defRPr sz="1999" b="0"/>
            </a:lvl2pPr>
            <a:lvl3pPr marL="450715" indent="0">
              <a:buFont typeface="Wingdings" panose="05000000000000000000" pitchFamily="2" charset="2"/>
              <a:buNone/>
              <a:tabLst/>
              <a:defRPr sz="1600" b="0"/>
            </a:lvl3pPr>
            <a:lvl4pPr marL="652266" indent="0">
              <a:buFont typeface="Wingdings" panose="05000000000000000000" pitchFamily="2" charset="2"/>
              <a:buNone/>
              <a:defRPr sz="1400" b="0"/>
            </a:lvl4pPr>
            <a:lvl5pPr marL="853819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00751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1" y="1437481"/>
            <a:ext cx="5212080" cy="1649682"/>
          </a:xfrm>
        </p:spPr>
        <p:txBody>
          <a:bodyPr wrap="square">
            <a:spAutoFit/>
          </a:bodyPr>
          <a:lstStyle>
            <a:lvl1pPr marL="231705" indent="-23170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10" indent="-171399">
              <a:buFont typeface="Wingdings" panose="05000000000000000000" pitchFamily="2" charset="2"/>
              <a:buChar char=""/>
              <a:defRPr sz="1999" b="0"/>
            </a:lvl2pPr>
            <a:lvl3pPr marL="639571" indent="-188856">
              <a:buFont typeface="Wingdings" panose="05000000000000000000" pitchFamily="2" charset="2"/>
              <a:buChar char=""/>
              <a:tabLst/>
              <a:defRPr sz="1600" b="0"/>
            </a:lvl3pPr>
            <a:lvl4pPr marL="828426" indent="-176160">
              <a:buFont typeface="Wingdings" panose="05000000000000000000" pitchFamily="2" charset="2"/>
              <a:buChar char=""/>
              <a:defRPr sz="1400" b="0"/>
            </a:lvl4pPr>
            <a:lvl5pPr marL="1023631" indent="-169812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5" y="1437481"/>
            <a:ext cx="5212080" cy="1649682"/>
          </a:xfrm>
        </p:spPr>
        <p:txBody>
          <a:bodyPr wrap="square">
            <a:spAutoFit/>
          </a:bodyPr>
          <a:lstStyle>
            <a:lvl1pPr marL="231705" indent="-23170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10" indent="-171399">
              <a:buFont typeface="Wingdings" panose="05000000000000000000" pitchFamily="2" charset="2"/>
              <a:buChar char=""/>
              <a:defRPr sz="1999" b="0"/>
            </a:lvl2pPr>
            <a:lvl3pPr marL="639571" indent="-188856">
              <a:buFont typeface="Wingdings" panose="05000000000000000000" pitchFamily="2" charset="2"/>
              <a:buChar char=""/>
              <a:tabLst/>
              <a:defRPr sz="1600" b="0"/>
            </a:lvl3pPr>
            <a:lvl4pPr marL="828426" indent="-176160">
              <a:buFont typeface="Wingdings" panose="05000000000000000000" pitchFamily="2" charset="2"/>
              <a:buChar char=""/>
              <a:defRPr sz="1400" b="0"/>
            </a:lvl4pPr>
            <a:lvl5pPr marL="1023631" indent="-169812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06275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622671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05094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457200"/>
            <a:ext cx="5508419" cy="372410"/>
          </a:xfrm>
        </p:spPr>
        <p:txBody>
          <a:bodyPr tIns="64008"/>
          <a:lstStyle>
            <a:lvl1pPr>
              <a:defRPr sz="1999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523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457200"/>
            <a:ext cx="5508419" cy="372410"/>
          </a:xfrm>
        </p:spPr>
        <p:txBody>
          <a:bodyPr tIns="64008"/>
          <a:lstStyle>
            <a:lvl1pPr>
              <a:defRPr sz="1999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297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599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3"/>
            <a:ext cx="4162425" cy="307777"/>
          </a:xfrm>
        </p:spPr>
        <p:txBody>
          <a:bodyPr/>
          <a:lstStyle>
            <a:lvl1pPr marL="0" indent="0">
              <a:buNone/>
              <a:defRPr sz="1999">
                <a:latin typeface="+mn-lt"/>
              </a:defRPr>
            </a:lvl1pPr>
            <a:lvl2pPr marL="228531" indent="0">
              <a:buNone/>
              <a:defRPr/>
            </a:lvl2pPr>
            <a:lvl3pPr marL="457063" indent="0">
              <a:buNone/>
              <a:defRPr/>
            </a:lvl3pPr>
            <a:lvl4pPr marL="661789" indent="0">
              <a:buNone/>
              <a:defRPr/>
            </a:lvl4pPr>
            <a:lvl5pPr marL="85540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83018294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448800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225">
              <a:defRPr/>
            </a:pPr>
            <a:fld id="{A34B8C21-472C-43AD-8B9F-5964D09AB204}" type="slidenum">
              <a:rPr lang="en-IN" smtClean="0">
                <a:solidFill>
                  <a:srgbClr val="505050"/>
                </a:solidFill>
                <a:latin typeface="Segoe UI"/>
              </a:rPr>
              <a:pPr defTabSz="914225">
                <a:defRPr/>
              </a:pPr>
              <a:t>‹#›</a:t>
            </a:fld>
            <a:endParaRPr lang="en-IN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>
                <a:solidFill>
                  <a:srgbClr val="00B29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4023601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6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599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4363868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799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7801545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1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996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1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1C388-D05E-4BD1-8D7C-196F5BE5D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42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345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3FAF49-2747-46DC-BE92-CD844B707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178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16347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77504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742815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9954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E3F1-5A51-4B35-B9B4-F38309368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3216" y="289513"/>
            <a:ext cx="6421864" cy="899665"/>
          </a:xfrm>
        </p:spPr>
        <p:txBody>
          <a:bodyPr/>
          <a:lstStyle>
            <a:lvl1pPr>
              <a:defRPr lang="en-US" sz="3529" b="0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02D8466-407C-4220-B6A8-8C189F42E00B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1" y="0"/>
            <a:ext cx="5302440" cy="673454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2284D3-DBDC-495E-984E-DA902FB7BB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3217" y="1661166"/>
            <a:ext cx="6421863" cy="817794"/>
          </a:xfrm>
        </p:spPr>
        <p:txBody>
          <a:bodyPr/>
          <a:lstStyle>
            <a:lvl1pPr marL="0" indent="0">
              <a:spcBef>
                <a:spcPts val="1765"/>
              </a:spcBef>
              <a:spcAft>
                <a:spcPts val="588"/>
              </a:spcAft>
              <a:buNone/>
              <a:defRPr sz="196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588"/>
              </a:spcAft>
              <a:buNone/>
              <a:defRPr lang="en-US" sz="1568" kern="1200" spc="88" baseline="0" dirty="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>
              <a:defRPr sz="1176"/>
            </a:lvl3pPr>
            <a:lvl4pPr>
              <a:defRPr sz="1078"/>
            </a:lvl4pPr>
            <a:lvl5pPr>
              <a:defRPr sz="107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48161163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4" y="1436690"/>
            <a:ext cx="11018520" cy="1908215"/>
          </a:xfrm>
        </p:spPr>
        <p:txBody>
          <a:bodyPr/>
          <a:lstStyle>
            <a:lvl1pPr marL="0" indent="0">
              <a:buNone/>
              <a:defRPr sz="2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90952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1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01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1897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1" y="1436690"/>
            <a:ext cx="11018838" cy="2215991"/>
          </a:xfrm>
        </p:spPr>
        <p:txBody>
          <a:bodyPr>
            <a:spAutoFit/>
          </a:bodyPr>
          <a:lstStyle>
            <a:lvl1pPr>
              <a:defRPr sz="3599">
                <a:latin typeface="+mn-lt"/>
              </a:defRPr>
            </a:lvl1pPr>
            <a:lvl2pPr>
              <a:defRPr sz="2799">
                <a:latin typeface="+mn-lt"/>
              </a:defRPr>
            </a:lvl2pPr>
            <a:lvl3pPr>
              <a:defRPr sz="2399">
                <a:latin typeface="+mn-lt"/>
              </a:defRPr>
            </a:lvl3pPr>
            <a:lvl4pPr>
              <a:defRPr sz="1999">
                <a:latin typeface="+mn-lt"/>
              </a:defRPr>
            </a:lvl4pPr>
            <a:lvl5pPr>
              <a:defRPr sz="1799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40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47192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270797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52299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0895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8" y="495121"/>
            <a:ext cx="11653523" cy="510461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3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2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0184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9"/>
            <a:ext cx="11653523" cy="160524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980159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4" y="2626222"/>
            <a:ext cx="5692890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41199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4198125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7" y="3412174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412172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5628511" y="2626222"/>
            <a:ext cx="5536180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eep transfor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D9541E-22DB-4D52-8181-A1AA5720B347}"/>
              </a:ext>
            </a:extLst>
          </p:cNvPr>
          <p:cNvSpPr txBox="1"/>
          <p:nvPr userDrawn="1"/>
        </p:nvSpPr>
        <p:spPr>
          <a:xfrm>
            <a:off x="202097" y="105524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5DD86FF-CF8D-4D5A-97BA-7526A8303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28510" y="1055245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931529-E991-4DB3-B887-1383B877392A}"/>
              </a:ext>
            </a:extLst>
          </p:cNvPr>
          <p:cNvSpPr txBox="1"/>
          <p:nvPr userDrawn="1"/>
        </p:nvSpPr>
        <p:spPr>
          <a:xfrm>
            <a:off x="202097" y="1840270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B98947-DEBB-40AF-8C56-C6A65155B05A}"/>
              </a:ext>
            </a:extLst>
          </p:cNvPr>
          <p:cNvSpPr txBox="1"/>
          <p:nvPr userDrawn="1"/>
        </p:nvSpPr>
        <p:spPr>
          <a:xfrm>
            <a:off x="202097" y="419812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1AB3B0-9D9C-4DCF-AD0D-97258F1220DE}"/>
              </a:ext>
            </a:extLst>
          </p:cNvPr>
          <p:cNvGrpSpPr/>
          <p:nvPr userDrawn="1"/>
        </p:nvGrpSpPr>
        <p:grpSpPr>
          <a:xfrm>
            <a:off x="7342825" y="5999446"/>
            <a:ext cx="4637360" cy="621324"/>
            <a:chOff x="274638" y="4554931"/>
            <a:chExt cx="4730349" cy="63369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51D9E96-E652-43D7-AD1D-25CF06E38D9D}"/>
                </a:ext>
              </a:extLst>
            </p:cNvPr>
            <p:cNvSpPr txBox="1"/>
            <p:nvPr userDrawn="1"/>
          </p:nvSpPr>
          <p:spPr>
            <a:xfrm>
              <a:off x="274638" y="4554931"/>
              <a:ext cx="4730349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10FA7F9-9C23-492E-BC3D-96F67220A1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27109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7342825" y="5999446"/>
            <a:ext cx="4637360" cy="621324"/>
            <a:chOff x="274638" y="4554931"/>
            <a:chExt cx="4730349" cy="63369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4730349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4" y="2626222"/>
            <a:ext cx="11052947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keep transform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8" y="3412174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grow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8" y="419812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succe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1840270"/>
            <a:ext cx="2535359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lear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75F147-F187-406F-B1C7-8708AB3B7EBF}"/>
              </a:ext>
            </a:extLst>
          </p:cNvPr>
          <p:cNvSpPr txBox="1"/>
          <p:nvPr userDrawn="1"/>
        </p:nvSpPr>
        <p:spPr>
          <a:xfrm>
            <a:off x="4927288" y="1055247"/>
            <a:ext cx="2958167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dream</a:t>
            </a:r>
          </a:p>
        </p:txBody>
      </p:sp>
    </p:spTree>
    <p:extLst>
      <p:ext uri="{BB962C8B-B14F-4D97-AF65-F5344CB8AC3E}">
        <p14:creationId xmlns:p14="http://schemas.microsoft.com/office/powerpoint/2010/main" val="1892288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4" y="2084187"/>
            <a:ext cx="8964185" cy="1793091"/>
          </a:xfrm>
          <a:noFill/>
        </p:spPr>
        <p:txBody>
          <a:bodyPr lIns="146304" tIns="91440" rIns="146304" bIns="91440" anchor="t" anchorCtr="0"/>
          <a:lstStyle>
            <a:lvl1pPr>
              <a:defRPr sz="5295" spc="-99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1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37" indent="0">
              <a:buNone/>
              <a:defRPr sz="1961"/>
            </a:lvl2pPr>
            <a:lvl3pPr marL="560227" indent="0">
              <a:buNone/>
              <a:defRPr sz="1961"/>
            </a:lvl3pPr>
            <a:lvl4pPr marL="784319" indent="0">
              <a:buNone/>
              <a:defRPr sz="1961"/>
            </a:lvl4pPr>
            <a:lvl5pPr marL="1008409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1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37" indent="0">
              <a:buNone/>
              <a:defRPr sz="1961"/>
            </a:lvl2pPr>
            <a:lvl3pPr marL="560227" indent="0">
              <a:buNone/>
              <a:defRPr sz="1961"/>
            </a:lvl3pPr>
            <a:lvl4pPr marL="784319" indent="0">
              <a:buNone/>
              <a:defRPr sz="1961"/>
            </a:lvl4pPr>
            <a:lvl5pPr marL="1008409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656437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66" name="Group 165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67" name="Group 166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73" name="Freeform: Shape 172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4" name="Freeform: Shape 173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5" name="Freeform: Shape 174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6" name="Freeform: Shape 175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68" name="Group 167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69" name="Freeform: Shape 168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0" name="Freeform: Shape 169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1" name="Freeform: Shape 170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2" name="Freeform: Shape 171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-814610" y="4052583"/>
            <a:ext cx="4604401" cy="3537327"/>
            <a:chOff x="-814611" y="4052582"/>
            <a:chExt cx="4604401" cy="3537327"/>
          </a:xfrm>
        </p:grpSpPr>
        <p:sp>
          <p:nvSpPr>
            <p:cNvPr id="122" name="Freeform: Shape 121"/>
            <p:cNvSpPr/>
            <p:nvPr/>
          </p:nvSpPr>
          <p:spPr>
            <a:xfrm rot="6340721">
              <a:off x="730446" y="309333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 rot="4480905">
              <a:off x="-94312" y="3705806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" name="Title 1"/>
          <p:cNvSpPr>
            <a:spLocks noGrp="1"/>
          </p:cNvSpPr>
          <p:nvPr userDrawn="1">
            <p:ph type="title"/>
          </p:nvPr>
        </p:nvSpPr>
        <p:spPr>
          <a:xfrm>
            <a:off x="1056885" y="2239229"/>
            <a:ext cx="9440739" cy="3424745"/>
          </a:xfrm>
        </p:spPr>
        <p:txBody>
          <a:bodyPr>
            <a:noAutofit/>
          </a:bodyPr>
          <a:lstStyle>
            <a:lvl1pPr>
              <a:defRPr sz="7998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31947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9" cy="2328587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2" indent="0">
              <a:buNone/>
              <a:defRPr/>
            </a:lvl2pPr>
            <a:lvl3pPr marL="448182" indent="0">
              <a:buNone/>
              <a:defRPr/>
            </a:lvl3pPr>
            <a:lvl4pPr marL="672274" indent="0">
              <a:buNone/>
              <a:defRPr/>
            </a:lvl4pPr>
            <a:lvl5pPr marL="89636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24673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5"/>
            <a:ext cx="11655079" cy="23285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5977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5"/>
            <a:ext cx="5378548" cy="214759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47" indent="0">
              <a:buFont typeface="Wingdings" panose="05000000000000000000" pitchFamily="2" charset="2"/>
              <a:buNone/>
              <a:defRPr sz="2353" b="0"/>
            </a:lvl2pPr>
            <a:lvl3pPr marL="441957" indent="0">
              <a:buFont typeface="Wingdings" panose="05000000000000000000" pitchFamily="2" charset="2"/>
              <a:buNone/>
              <a:tabLst/>
              <a:defRPr sz="2157" b="0"/>
            </a:lvl3pPr>
            <a:lvl4pPr marL="639592" indent="0">
              <a:buFont typeface="Wingdings" panose="05000000000000000000" pitchFamily="2" charset="2"/>
              <a:buNone/>
              <a:defRPr sz="2157" b="0"/>
            </a:lvl4pPr>
            <a:lvl5pPr marL="83723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47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57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592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3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05" marR="0" lvl="0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05" marR="0" lvl="1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05" marR="0" lvl="2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05" marR="0" lvl="3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05" marR="0" lvl="4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254629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5"/>
            <a:ext cx="5378548" cy="2147596"/>
          </a:xfrm>
        </p:spPr>
        <p:txBody>
          <a:bodyPr wrap="square">
            <a:spAutoFit/>
          </a:bodyPr>
          <a:lstStyle>
            <a:lvl1pPr marL="227204" indent="-227204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15" indent="-168068">
              <a:buFont typeface="Wingdings" panose="05000000000000000000" pitchFamily="2" charset="2"/>
              <a:buChar char=""/>
              <a:defRPr sz="2353" b="0"/>
            </a:lvl2pPr>
            <a:lvl3pPr marL="627144" indent="-185186">
              <a:buFont typeface="Wingdings" panose="05000000000000000000" pitchFamily="2" charset="2"/>
              <a:buChar char=""/>
              <a:tabLst/>
              <a:defRPr sz="2157" b="0"/>
            </a:lvl3pPr>
            <a:lvl4pPr marL="812330" indent="-172738">
              <a:buFont typeface="Wingdings" panose="05000000000000000000" pitchFamily="2" charset="2"/>
              <a:buChar char=""/>
              <a:defRPr sz="2157" b="0"/>
            </a:lvl4pPr>
            <a:lvl5pPr marL="1003742" indent="-166513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670" indent="-281670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84" indent="-336137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094" indent="-336137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29" indent="-336137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65" indent="-336137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4" marR="0" lvl="0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4" marR="0" lvl="1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4" marR="0" lvl="2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4" marR="0" lvl="3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4" marR="0" lvl="4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69199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924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98206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AA35A8-E087-426C-BCE4-DED8074F0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12251-C1D1-475D-8A57-2211DEE249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29D8-794D-4883-8C4C-E48B36FF0C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3D017F-9DA9-4A5B-A016-2791FEABC1C3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3/201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D57FFF-BD67-4A81-A546-BAF4B6C8D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0CA30-A1E9-4315-8384-AC67A7BAE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D9568B-6C42-40FB-BA7D-BAFC60EE407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159864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089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5598C7-98FA-4441-9A16-6865D6BEA2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9CEFEC-B499-4D69-AEAE-D3E52BD754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75" indent="0" algn="ctr">
              <a:buNone/>
              <a:defRPr sz="1999"/>
            </a:lvl2pPr>
            <a:lvl3pPr marL="913951" indent="0" algn="ctr">
              <a:buNone/>
              <a:defRPr sz="1799"/>
            </a:lvl3pPr>
            <a:lvl4pPr marL="1370926" indent="0" algn="ctr">
              <a:buNone/>
              <a:defRPr sz="1600"/>
            </a:lvl4pPr>
            <a:lvl5pPr marL="1827900" indent="0" algn="ctr">
              <a:buNone/>
              <a:defRPr sz="1600"/>
            </a:lvl5pPr>
            <a:lvl6pPr marL="2284875" indent="0" algn="ctr">
              <a:buNone/>
              <a:defRPr sz="1600"/>
            </a:lvl6pPr>
            <a:lvl7pPr marL="2741851" indent="0" algn="ctr">
              <a:buNone/>
              <a:defRPr sz="1600"/>
            </a:lvl7pPr>
            <a:lvl8pPr marL="3198825" indent="0" algn="ctr">
              <a:buNone/>
              <a:defRPr sz="1600"/>
            </a:lvl8pPr>
            <a:lvl9pPr marL="36558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36EC2D-1DDE-44DD-A9B6-D13BED7AD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F2E327-2285-4FFE-A444-0A32F1E9D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1E8FFA-1F8B-48EA-B39E-5EBE22AD9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04305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45A05-5749-4AC9-8774-4B958AC52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ECF56E-1913-4C84-AFB7-141C311662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B4B18C-A37E-49CD-9C41-7AB0C0113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CB07A0-EC62-4F71-A5E1-7B9FB9603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F2508F-BD82-48F6-B10E-3F5D5C4A8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931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2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27206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732971" y="6452314"/>
              <a:ext cx="5762172" cy="1043601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5762172"/>
                <a:gd name="connsiteY0" fmla="*/ 1865099 h 2282384"/>
                <a:gd name="connsiteX1" fmla="*/ 765629 w 5762172"/>
                <a:gd name="connsiteY1" fmla="*/ 13 h 2282384"/>
                <a:gd name="connsiteX2" fmla="*/ 1375229 w 5762172"/>
                <a:gd name="connsiteY2" fmla="*/ 1897756 h 2282384"/>
                <a:gd name="connsiteX3" fmla="*/ 2039258 w 5762172"/>
                <a:gd name="connsiteY3" fmla="*/ 801927 h 2282384"/>
                <a:gd name="connsiteX4" fmla="*/ 2525486 w 5762172"/>
                <a:gd name="connsiteY4" fmla="*/ 1846956 h 2282384"/>
                <a:gd name="connsiteX5" fmla="*/ 2989943 w 5762172"/>
                <a:gd name="connsiteY5" fmla="*/ 1273641 h 2282384"/>
                <a:gd name="connsiteX6" fmla="*/ 3305629 w 5762172"/>
                <a:gd name="connsiteY6" fmla="*/ 1763499 h 2282384"/>
                <a:gd name="connsiteX7" fmla="*/ 3701143 w 5762172"/>
                <a:gd name="connsiteY7" fmla="*/ 399156 h 2282384"/>
                <a:gd name="connsiteX8" fmla="*/ 4093029 w 5762172"/>
                <a:gd name="connsiteY8" fmla="*/ 1357099 h 2282384"/>
                <a:gd name="connsiteX9" fmla="*/ 4383315 w 5762172"/>
                <a:gd name="connsiteY9" fmla="*/ 747499 h 2282384"/>
                <a:gd name="connsiteX10" fmla="*/ 4822372 w 5762172"/>
                <a:gd name="connsiteY10" fmla="*/ 1886870 h 2282384"/>
                <a:gd name="connsiteX11" fmla="*/ 5308600 w 5762172"/>
                <a:gd name="connsiteY11" fmla="*/ 928927 h 2282384"/>
                <a:gd name="connsiteX12" fmla="*/ 5762172 w 5762172"/>
                <a:gd name="connsiteY12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172" h="2282384">
                  <a:moveTo>
                    <a:pt x="0" y="1865099"/>
                  </a:moveTo>
                  <a:cubicBezTo>
                    <a:pt x="255209" y="1666737"/>
                    <a:pt x="536424" y="-5430"/>
                    <a:pt x="765629" y="13"/>
                  </a:cubicBezTo>
                  <a:cubicBezTo>
                    <a:pt x="994834" y="5456"/>
                    <a:pt x="1162957" y="1764104"/>
                    <a:pt x="1375229" y="1897756"/>
                  </a:cubicBezTo>
                  <a:cubicBezTo>
                    <a:pt x="1587501" y="2031408"/>
                    <a:pt x="1847549" y="810394"/>
                    <a:pt x="2039258" y="801927"/>
                  </a:cubicBezTo>
                  <a:cubicBezTo>
                    <a:pt x="2230967" y="793460"/>
                    <a:pt x="2367039" y="1768337"/>
                    <a:pt x="2525486" y="1846956"/>
                  </a:cubicBezTo>
                  <a:cubicBezTo>
                    <a:pt x="2683933" y="1925575"/>
                    <a:pt x="2859919" y="1287550"/>
                    <a:pt x="2989943" y="1273641"/>
                  </a:cubicBezTo>
                  <a:cubicBezTo>
                    <a:pt x="3119967" y="1259732"/>
                    <a:pt x="3187096" y="1909247"/>
                    <a:pt x="3305629" y="1763499"/>
                  </a:cubicBezTo>
                  <a:cubicBezTo>
                    <a:pt x="3424162" y="1617752"/>
                    <a:pt x="3569910" y="466889"/>
                    <a:pt x="3701143" y="399156"/>
                  </a:cubicBezTo>
                  <a:cubicBezTo>
                    <a:pt x="3832376" y="331423"/>
                    <a:pt x="3979334" y="1299042"/>
                    <a:pt x="4093029" y="1357099"/>
                  </a:cubicBezTo>
                  <a:cubicBezTo>
                    <a:pt x="4206724" y="1415156"/>
                    <a:pt x="4261758" y="659204"/>
                    <a:pt x="4383315" y="747499"/>
                  </a:cubicBezTo>
                  <a:cubicBezTo>
                    <a:pt x="4504872" y="835794"/>
                    <a:pt x="4668158" y="1856632"/>
                    <a:pt x="4822372" y="1886870"/>
                  </a:cubicBezTo>
                  <a:cubicBezTo>
                    <a:pt x="4976586" y="1917108"/>
                    <a:pt x="5151967" y="863008"/>
                    <a:pt x="5308600" y="928927"/>
                  </a:cubicBezTo>
                  <a:cubicBezTo>
                    <a:pt x="5465233" y="994846"/>
                    <a:pt x="5613702" y="1638615"/>
                    <a:pt x="5762172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21" name="Group 120"/>
          <p:cNvGrpSpPr/>
          <p:nvPr userDrawn="1"/>
        </p:nvGrpSpPr>
        <p:grpSpPr>
          <a:xfrm rot="4480905">
            <a:off x="-193235" y="3476287"/>
            <a:ext cx="3437832" cy="4758449"/>
            <a:chOff x="9385524" y="2790411"/>
            <a:chExt cx="3437832" cy="4758449"/>
          </a:xfrm>
        </p:grpSpPr>
        <p:sp>
          <p:nvSpPr>
            <p:cNvPr id="122" name="Freeform: Shape 121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86645" y="3126797"/>
                <a:ext cx="1657518" cy="3532144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  <a:gd name="connsiteX0" fmla="*/ 1226774 w 1394417"/>
                  <a:gd name="connsiteY0" fmla="*/ 0 h 3334657"/>
                  <a:gd name="connsiteX1" fmla="*/ 660717 w 1394417"/>
                  <a:gd name="connsiteY1" fmla="*/ 254000 h 3334657"/>
                  <a:gd name="connsiteX2" fmla="*/ 1299345 w 1394417"/>
                  <a:gd name="connsiteY2" fmla="*/ 635000 h 3334657"/>
                  <a:gd name="connsiteX3" fmla="*/ 317 w 1394417"/>
                  <a:gd name="connsiteY3" fmla="*/ 1157514 h 3334657"/>
                  <a:gd name="connsiteX4" fmla="*/ 1168717 w 1394417"/>
                  <a:gd name="connsiteY4" fmla="*/ 2028371 h 3334657"/>
                  <a:gd name="connsiteX5" fmla="*/ 504688 w 1394417"/>
                  <a:gd name="connsiteY5" fmla="*/ 2630714 h 3334657"/>
                  <a:gd name="connsiteX6" fmla="*/ 1379174 w 1394417"/>
                  <a:gd name="connsiteY6" fmla="*/ 3066143 h 3334657"/>
                  <a:gd name="connsiteX7" fmla="*/ 1081631 w 1394417"/>
                  <a:gd name="connsiteY7" fmla="*/ 3334657 h 333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4417" h="3334657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53" name="Group 152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59" name="Freeform: Shape 158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Freeform: Shape 159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Freeform: Shape 160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Freeform: Shape 161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55" name="Freeform: Shape 154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Freeform: Shape 155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Freeform: Shape 156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Freeform: Shape 157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511330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DB89E-ABAB-49F5-A428-A943B585F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1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C9F2F-3B49-407C-B533-ED5E1BA23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6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5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51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9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8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8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F8A69-AC4B-4BB5-BDE6-1AB53FED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605CF-465F-43C8-888E-9741D6157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7AC51-770B-4C2B-B1E0-7CD4889FC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08136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2BD4CF-99F2-4D57-ACD7-D066F8A2A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1C9D3B-935A-487B-B374-4EA31E375E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8651A-B5E7-4CBC-8B2A-A9659DCFEB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19A43F-266F-4B08-B395-487BC3CFBC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D470BB-F142-4561-85A9-405B1FADE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FFF173-CB13-4D18-9D44-A8E423A79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4692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E223E-99EA-4DE2-8C64-13D36E777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8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CAA717-1474-4998-BC66-5552C7F2BB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5" indent="0">
              <a:buNone/>
              <a:defRPr sz="1999" b="1"/>
            </a:lvl2pPr>
            <a:lvl3pPr marL="913951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1" indent="0">
              <a:buNone/>
              <a:defRPr sz="1600" b="1"/>
            </a:lvl7pPr>
            <a:lvl8pPr marL="3198825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5CB5EF-51FA-44DC-BD68-7493503658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BF8C9E-03B6-41DE-A1DB-FD56FBFA7C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5" indent="0">
              <a:buNone/>
              <a:defRPr sz="1999" b="1"/>
            </a:lvl2pPr>
            <a:lvl3pPr marL="913951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1" indent="0">
              <a:buNone/>
              <a:defRPr sz="1600" b="1"/>
            </a:lvl7pPr>
            <a:lvl8pPr marL="3198825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3F1013F-01D0-4B43-9920-A34CC45A9E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3642FDB-CBC9-45AF-B4B9-FA9B602B90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6489A92-54AC-4919-9A25-A43B80CA8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D11812-FF17-4908-8DBE-E015F4C20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17293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A3B00-F766-45D3-A7E8-3B3752306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511BCE-0813-42C8-8B7C-0EB60FCA7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D96101-F997-454F-B0F2-BC315304C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781A9F-CB6B-4C7E-9750-CD0FA5996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5816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2F015D-2E39-40E0-8A01-131E5AB608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434CAB-495B-4F2B-B05B-B09B49841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01C4A-D6C5-4718-B230-1EE277916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83922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9E31D-20D8-452A-9959-1B22621A9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3459C8-A511-4F51-903D-E5D1159730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9" y="987428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C56E3E-CDBD-4F62-95A4-0A9688977C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75" indent="0">
              <a:buNone/>
              <a:defRPr sz="1400"/>
            </a:lvl2pPr>
            <a:lvl3pPr marL="913951" indent="0">
              <a:buNone/>
              <a:defRPr sz="1200"/>
            </a:lvl3pPr>
            <a:lvl4pPr marL="1370926" indent="0">
              <a:buNone/>
              <a:defRPr sz="1000"/>
            </a:lvl4pPr>
            <a:lvl5pPr marL="1827900" indent="0">
              <a:buNone/>
              <a:defRPr sz="1000"/>
            </a:lvl5pPr>
            <a:lvl6pPr marL="2284875" indent="0">
              <a:buNone/>
              <a:defRPr sz="1000"/>
            </a:lvl6pPr>
            <a:lvl7pPr marL="2741851" indent="0">
              <a:buNone/>
              <a:defRPr sz="1000"/>
            </a:lvl7pPr>
            <a:lvl8pPr marL="3198825" indent="0">
              <a:buNone/>
              <a:defRPr sz="1000"/>
            </a:lvl8pPr>
            <a:lvl9pPr marL="36558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FB2D8D-0772-4A62-87CA-98EB2EED3A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6541FB-469F-4183-B3A9-3BD437F1B1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8243CD-0518-4259-AC68-488937FCE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90907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A7C40-2F46-4118-818E-0D4504535B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9344C2-56AE-44C9-B27B-4AFCD83103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9" y="987428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6975" indent="0">
              <a:buNone/>
              <a:defRPr sz="2799"/>
            </a:lvl2pPr>
            <a:lvl3pPr marL="913951" indent="0">
              <a:buNone/>
              <a:defRPr sz="2399"/>
            </a:lvl3pPr>
            <a:lvl4pPr marL="1370926" indent="0">
              <a:buNone/>
              <a:defRPr sz="1999"/>
            </a:lvl4pPr>
            <a:lvl5pPr marL="1827900" indent="0">
              <a:buNone/>
              <a:defRPr sz="1999"/>
            </a:lvl5pPr>
            <a:lvl6pPr marL="2284875" indent="0">
              <a:buNone/>
              <a:defRPr sz="1999"/>
            </a:lvl6pPr>
            <a:lvl7pPr marL="2741851" indent="0">
              <a:buNone/>
              <a:defRPr sz="1999"/>
            </a:lvl7pPr>
            <a:lvl8pPr marL="3198825" indent="0">
              <a:buNone/>
              <a:defRPr sz="1999"/>
            </a:lvl8pPr>
            <a:lvl9pPr marL="3655800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2AECAE-DB29-4A8D-9F16-57AD8818C6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75" indent="0">
              <a:buNone/>
              <a:defRPr sz="1400"/>
            </a:lvl2pPr>
            <a:lvl3pPr marL="913951" indent="0">
              <a:buNone/>
              <a:defRPr sz="1200"/>
            </a:lvl3pPr>
            <a:lvl4pPr marL="1370926" indent="0">
              <a:buNone/>
              <a:defRPr sz="1000"/>
            </a:lvl4pPr>
            <a:lvl5pPr marL="1827900" indent="0">
              <a:buNone/>
              <a:defRPr sz="1000"/>
            </a:lvl5pPr>
            <a:lvl6pPr marL="2284875" indent="0">
              <a:buNone/>
              <a:defRPr sz="1000"/>
            </a:lvl6pPr>
            <a:lvl7pPr marL="2741851" indent="0">
              <a:buNone/>
              <a:defRPr sz="1000"/>
            </a:lvl7pPr>
            <a:lvl8pPr marL="3198825" indent="0">
              <a:buNone/>
              <a:defRPr sz="1000"/>
            </a:lvl8pPr>
            <a:lvl9pPr marL="36558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2FBD9A-9528-4B73-9F12-36701F927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E79C7D-9DA3-4A26-9FE8-ADC6DE6BB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D3461B-E2B1-4E96-86D3-71806019B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4237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C8C28-D311-4258-B673-729333E8E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063538-75B4-46A4-944C-5D1B45BDDC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883D52-043D-422C-84F5-BE1A97AD0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B83D50-DDAE-4E35-B398-BAD98829A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AB3A10-E5F4-49E7-89B5-E9FEE7AA7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15671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4906419-E9BD-4C88-9F8F-2BCBF79EFF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8878FD-21C2-418F-8804-F6610D6B74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1A0776-E3BC-4DE4-8945-96D3B3544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AEF6A9-3878-4353-95BB-19BAC8AAC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1B9585-FFD7-4795-9BF2-F3B097749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74165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1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52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89"/>
          <p:cNvSpPr/>
          <p:nvPr userDrawn="1"/>
        </p:nvSpPr>
        <p:spPr>
          <a:xfrm>
            <a:off x="1" y="0"/>
            <a:ext cx="5763491" cy="6858000"/>
          </a:xfrm>
          <a:prstGeom prst="rect">
            <a:avLst/>
          </a:prstGeom>
          <a:solidFill>
            <a:srgbClr val="ECE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1" name="Content Placeholder 2"/>
          <p:cNvSpPr>
            <a:spLocks noGrp="1"/>
          </p:cNvSpPr>
          <p:nvPr>
            <p:ph idx="1"/>
          </p:nvPr>
        </p:nvSpPr>
        <p:spPr>
          <a:xfrm>
            <a:off x="360841" y="2650966"/>
            <a:ext cx="4470926" cy="1556071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marL="0" indent="0">
              <a:lnSpc>
                <a:spcPct val="100000"/>
              </a:lnSpc>
              <a:buNone/>
            </a:pPr>
            <a:r>
              <a:rPr lang="en-US" sz="3200" b="1">
                <a:solidFill>
                  <a:srgbClr val="002050"/>
                </a:solidFill>
                <a:latin typeface="+mn-lt"/>
                <a:ea typeface="+mj-ea"/>
              </a:rPr>
              <a:t>Technology leaders face a changing environment</a:t>
            </a:r>
            <a:endParaRPr lang="en-US" sz="2400" b="1">
              <a:solidFill>
                <a:srgbClr val="00205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691099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751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2115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0" b="0">
                <a:latin typeface="+mn-lt"/>
              </a:defRPr>
            </a:lvl1pPr>
            <a:lvl2pPr marL="250478" indent="0">
              <a:buFont typeface="Wingdings" panose="05000000000000000000" pitchFamily="2" charset="2"/>
              <a:buNone/>
              <a:defRPr sz="2352" b="0"/>
            </a:lvl2pPr>
            <a:lvl3pPr marL="441835" indent="0">
              <a:buFont typeface="Wingdings" panose="05000000000000000000" pitchFamily="2" charset="2"/>
              <a:buNone/>
              <a:tabLst/>
              <a:defRPr sz="2156" b="0"/>
            </a:lvl3pPr>
            <a:lvl4pPr marL="639416" indent="0">
              <a:buFont typeface="Wingdings" panose="05000000000000000000" pitchFamily="2" charset="2"/>
              <a:buNone/>
              <a:defRPr sz="2156" b="0"/>
            </a:lvl4pPr>
            <a:lvl5pPr marL="836999" indent="0">
              <a:buFont typeface="Wingdings" panose="05000000000000000000" pitchFamily="2" charset="2"/>
              <a:buNone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78" indent="0">
              <a:buFont typeface="Arial" panose="020B0604020202020204" pitchFamily="34" charset="0"/>
              <a:buNone/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35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16" indent="0">
              <a:buFont typeface="Arial" panose="020B0604020202020204" pitchFamily="34" charset="0"/>
              <a:buNone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999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66" marR="0" lvl="0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66" marR="0" lvl="1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66" marR="0" lvl="2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66" marR="0" lvl="3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66" marR="0" lvl="4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820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141" indent="-227141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0" b="0">
                <a:latin typeface="+mn-lt"/>
              </a:defRPr>
            </a:lvl1pPr>
            <a:lvl2pPr marL="418499" indent="-168022">
              <a:buFont typeface="Wingdings" panose="05000000000000000000" pitchFamily="2" charset="2"/>
              <a:buChar char=""/>
              <a:defRPr sz="2352" b="0"/>
            </a:lvl2pPr>
            <a:lvl3pPr marL="626972" indent="-185135">
              <a:buFont typeface="Wingdings" panose="05000000000000000000" pitchFamily="2" charset="2"/>
              <a:buChar char=""/>
              <a:tabLst/>
              <a:defRPr sz="2156" b="0"/>
            </a:lvl3pPr>
            <a:lvl4pPr marL="812106" indent="-172690">
              <a:buFont typeface="Wingdings" panose="05000000000000000000" pitchFamily="2" charset="2"/>
              <a:buChar char=""/>
              <a:defRPr sz="2156" b="0"/>
            </a:lvl4pPr>
            <a:lvl5pPr marL="1003465" indent="-166467">
              <a:buFont typeface="Wingdings" panose="05000000000000000000" pitchFamily="2" charset="2"/>
              <a:buChar char=""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22" indent="-336044"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880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460" indent="-336044"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043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41" marR="0" lvl="0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41" marR="0" lvl="1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41" marR="0" lvl="2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41" marR="0" lvl="3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41" marR="0" lvl="4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547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375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82049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52572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9856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23091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0502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425439" y="0"/>
            <a:ext cx="676656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0839" y="2571750"/>
            <a:ext cx="4610303" cy="1714500"/>
          </a:xfrm>
        </p:spPr>
        <p:txBody>
          <a:bodyPr anchor="ctr">
            <a:noAutofit/>
          </a:bodyPr>
          <a:lstStyle>
            <a:lvl1pPr marL="0" indent="0">
              <a:buNone/>
              <a:defRPr lang="en-US" sz="4000" kern="1200" dirty="0">
                <a:solidFill>
                  <a:prstClr val="white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0315303" y="1"/>
            <a:ext cx="1876697" cy="496389"/>
          </a:xfrm>
          <a:solidFill>
            <a:schemeClr val="bg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2000" b="1" kern="0" dirty="0">
                <a:solidFill>
                  <a:schemeClr val="tx2"/>
                </a:solidFill>
                <a:latin typeface="+mn-lt"/>
                <a:ea typeface="Segoe UI" panose="020B0502040204020203" pitchFamily="34" charset="0"/>
              </a:defRPr>
            </a:lvl1pPr>
          </a:lstStyle>
          <a:p>
            <a:pPr marL="0" lvl="0" algn="ctr" defTabSz="930858">
              <a:spcBef>
                <a:spcPts val="612"/>
              </a:spcBef>
            </a:pPr>
            <a:r>
              <a:rPr lang="en-US"/>
              <a:t>Category</a:t>
            </a:r>
          </a:p>
        </p:txBody>
      </p:sp>
    </p:spTree>
    <p:extLst>
      <p:ext uri="{BB962C8B-B14F-4D97-AF65-F5344CB8AC3E}">
        <p14:creationId xmlns:p14="http://schemas.microsoft.com/office/powerpoint/2010/main" val="391490336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10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8885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3"/>
            <a:ext cx="6904778" cy="899665"/>
          </a:xfrm>
        </p:spPr>
        <p:txBody>
          <a:bodyPr/>
          <a:lstStyle>
            <a:lvl1pPr>
              <a:defRPr sz="39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4"/>
              </a:spcBef>
              <a:buNone/>
              <a:defRPr sz="1960">
                <a:latin typeface="+mn-lt"/>
              </a:defRPr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1" y="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34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0" tIns="45710" rIns="4571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spcBef>
                <a:spcPct val="0"/>
              </a:spcBef>
              <a:spcAft>
                <a:spcPct val="0"/>
              </a:spcAft>
            </a:pPr>
            <a:endParaRPr lang="en-US" sz="176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2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2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1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7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98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590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79238" rIns="179238" bIns="179238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87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5184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3" y="2746096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6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869907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7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9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092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129869" y="5984140"/>
            <a:ext cx="1607625" cy="40344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89619" tIns="44809" rIns="89619" bIns="44809" numCol="1" anchor="t" anchorCtr="0" compatLnSpc="1">
            <a:prstTxWarp prst="textNoShape">
              <a:avLst/>
            </a:prstTxWarp>
          </a:bodyPr>
          <a:lstStyle/>
          <a:p>
            <a:endParaRPr lang="en-US" sz="1764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9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73047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262847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/>
              <a:t>6/23/2019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58B1C62-6523-40EB-A5E7-63AFE8AC4F9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29864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4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2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5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6050967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5" y="2084173"/>
            <a:ext cx="9860672" cy="1793104"/>
          </a:xfrm>
        </p:spPr>
        <p:txBody>
          <a:bodyPr/>
          <a:lstStyle>
            <a:lvl1pPr>
              <a:defRPr sz="4704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4832498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044" indent="-336044">
              <a:buNone/>
              <a:defRPr kumimoji="0" lang="en-US" sz="2352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5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25715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00"/>
              </a:spcAft>
              <a:buNone/>
              <a:defRPr lang="en-US" sz="3528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5pPr>
          </a:lstStyle>
          <a:p>
            <a:pPr marL="0" lvl="0" indent="0" algn="l" defTabSz="895888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4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51932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28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5888" rtl="0" eaLnBrk="1" latinLnBrk="0" hangingPunct="1">
              <a:spcBef>
                <a:spcPct val="2000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69243" y="291070"/>
            <a:ext cx="11653522" cy="896552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4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54821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8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5888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40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46423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504822"/>
          </a:xfrm>
        </p:spPr>
        <p:txBody>
          <a:bodyPr>
            <a:spAutoFit/>
          </a:bodyPr>
          <a:lstStyle>
            <a:lvl1pPr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519" indent="-236475"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016" indent="-336044"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0"/>
            </a:lvl4pPr>
            <a:lvl5pPr>
              <a:defRPr sz="1960"/>
            </a:lvl5pPr>
          </a:lstStyle>
          <a:p>
            <a:pPr marL="0" lvl="0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6810934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6761150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095549" y="2425051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89619" tIns="44809" rIns="89619" bIns="44809" numCol="1" anchor="t" anchorCtr="0" compatLnSpc="1">
            <a:prstTxWarp prst="textNoShape">
              <a:avLst/>
            </a:prstTxWarp>
          </a:bodyPr>
          <a:lstStyle/>
          <a:p>
            <a:endParaRPr lang="en-US" sz="1764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7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5374679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1618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43391" rIns="179238" bIns="143391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6" y="3085694"/>
            <a:ext cx="3227129" cy="68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99134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22258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69239" y="2262478"/>
            <a:ext cx="1532465" cy="316989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40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51738" y="2256322"/>
            <a:ext cx="3169353" cy="31822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095785" y="2257102"/>
            <a:ext cx="3826977" cy="318064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076404" y="2256137"/>
            <a:ext cx="2300636" cy="318257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40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4987159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3076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988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1">
    <p:bg>
      <p:bgPr>
        <a:solidFill>
          <a:srgbClr val="2428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5026966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89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6887529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DB89E-ABAB-49F5-A428-A943B585F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1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C9F2F-3B49-407C-B533-ED5E1BA23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6"/>
            <a:ext cx="10515600" cy="516936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5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51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9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8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8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F8A69-AC4B-4BB5-BDE6-1AB53FED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605CF-465F-43C8-888E-9741D6157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7AC51-770B-4C2B-B1E0-7CD4889FC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30351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293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4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4" y="3877279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53241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9544870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1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2464396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1" y="3145043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70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12" tIns="143372" rIns="179212" bIns="143372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928710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-2" y="4790977"/>
            <a:ext cx="4178809" cy="563231"/>
          </a:xfrm>
          <a:solidFill>
            <a:schemeClr val="bg2"/>
          </a:solidFill>
        </p:spPr>
        <p:txBody>
          <a:bodyPr vert="horz" lIns="457200" tIns="182880" rIns="365760" bIns="182880" rtlCol="0">
            <a:spAutoFit/>
          </a:bodyPr>
          <a:lstStyle>
            <a:lvl1pPr>
              <a:defRPr lang="en-US" sz="1400" b="1" smtClean="0">
                <a:solidFill>
                  <a:srgbClr val="002050"/>
                </a:solidFill>
                <a:latin typeface="Segoe UI"/>
                <a:cs typeface=""/>
              </a:defRPr>
            </a:lvl1pPr>
            <a:lvl2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lang="en-US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marL="0" lvl="0" indent="0">
              <a:spcBef>
                <a:spcPts val="800"/>
              </a:spcBef>
              <a:spcAft>
                <a:spcPts val="600"/>
              </a:spcAft>
              <a:buClr>
                <a:srgbClr val="00C0F9"/>
              </a:buClr>
              <a:buNone/>
            </a:pPr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5406864" cy="892552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91746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4" y="2629145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9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4" y="3199213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5" y="1774043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7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5" y="2344111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4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5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4" y="1489009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5" y="63839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3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5" y="633907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4" y="6049553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7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4" y="6619613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5" y="5194451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5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5" y="5764519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4" y="4339349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3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4" y="4909417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5" y="3484247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5" y="4054315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141639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1315713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2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578460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0276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7760559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E73B716-5AC1-4E6F-99C0-F195B0C58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78FD896-9F6B-4251-9F12-35FEF1AF74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35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4442CC-A341-2548-8632-8304206EF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449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MSF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30372D-8606-427F-81BF-A215D788E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875" y="252099"/>
            <a:ext cx="1970160" cy="724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838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white Azure Dev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326A775-9A41-46BA-A0F5-6200093FCA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6141" y="2605914"/>
            <a:ext cx="4877472" cy="418762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3532A61-7338-495C-8787-A222781205FF}"/>
              </a:ext>
            </a:extLst>
          </p:cNvPr>
          <p:cNvSpPr/>
          <p:nvPr userDrawn="1"/>
        </p:nvSpPr>
        <p:spPr bwMode="auto">
          <a:xfrm>
            <a:off x="426425" y="2128263"/>
            <a:ext cx="7477989" cy="358620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12028E2-C5DC-4CA9-88C9-D5024B2AD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974" y="2540313"/>
            <a:ext cx="7028471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EFA9DF5-3A2A-422C-B2A6-A700C5CFD6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975" y="4342824"/>
            <a:ext cx="6107853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F17F8D-94AF-494A-9DEA-6500CB1B69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564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0897" y="1189288"/>
            <a:ext cx="3621494" cy="454391"/>
          </a:xfrm>
        </p:spPr>
        <p:txBody>
          <a:bodyPr lIns="0" tIns="0" rIns="0" bIns="0"/>
          <a:lstStyle>
            <a:lvl1pPr>
              <a:defRPr sz="1765" b="1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0897" y="1646473"/>
            <a:ext cx="3621494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spc="0" baseline="0">
                <a:solidFill>
                  <a:schemeClr val="tx2"/>
                </a:solidFill>
                <a:latin typeface="+mn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B79444-4BA3-4CE3-9F8D-00DECAF267E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886E38-6DEB-477A-985F-0D8CB205C5D0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F9B269D-571A-44FF-AE48-CF094C28B01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3412800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</p:spTree>
    <p:extLst>
      <p:ext uri="{BB962C8B-B14F-4D97-AF65-F5344CB8AC3E}">
        <p14:creationId xmlns:p14="http://schemas.microsoft.com/office/powerpoint/2010/main" val="394147376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/>
              <a:t>6/23/2019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58B1C62-6523-40EB-A5E7-63AFE8AC4F9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2721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121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217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314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</p:spTree>
    <p:extLst>
      <p:ext uri="{BB962C8B-B14F-4D97-AF65-F5344CB8AC3E}">
        <p14:creationId xmlns:p14="http://schemas.microsoft.com/office/powerpoint/2010/main" val="4073317878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96552879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4690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90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3290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3291"/>
            <a:ext cx="3630521" cy="2649187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6641618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552412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0"/>
            <a:ext cx="5547873" cy="2602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</p:spTree>
    <p:extLst>
      <p:ext uri="{BB962C8B-B14F-4D97-AF65-F5344CB8AC3E}">
        <p14:creationId xmlns:p14="http://schemas.microsoft.com/office/powerpoint/2010/main" val="870108383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5274"/>
          </a:xfrm>
        </p:spPr>
        <p:txBody>
          <a:bodyPr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1"/>
            <a:ext cx="5547873" cy="260527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</p:spTree>
    <p:extLst>
      <p:ext uri="{BB962C8B-B14F-4D97-AF65-F5344CB8AC3E}">
        <p14:creationId xmlns:p14="http://schemas.microsoft.com/office/powerpoint/2010/main" val="1683049207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0" y="0"/>
            <a:ext cx="598239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222583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1129913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</p:spTree>
    <p:extLst>
      <p:ext uri="{BB962C8B-B14F-4D97-AF65-F5344CB8AC3E}">
        <p14:creationId xmlns:p14="http://schemas.microsoft.com/office/powerpoint/2010/main" val="2346325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1179838"/>
            <a:ext cx="3632388" cy="2583813"/>
          </a:xfr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1179838"/>
            <a:ext cx="3623050" cy="2583813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1179838"/>
            <a:ext cx="3634002" cy="2583814"/>
          </a:xfrm>
          <a:blipFill>
            <a:blip r:embed="rId4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3986232"/>
            <a:ext cx="3630521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3986232"/>
            <a:ext cx="3623050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3986232"/>
            <a:ext cx="3630521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445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 photo layout</a:t>
            </a:r>
          </a:p>
        </p:txBody>
      </p:sp>
    </p:spTree>
    <p:extLst>
      <p:ext uri="{BB962C8B-B14F-4D97-AF65-F5344CB8AC3E}">
        <p14:creationId xmlns:p14="http://schemas.microsoft.com/office/powerpoint/2010/main" val="2452349967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hoto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1179838"/>
            <a:ext cx="3632388" cy="2583813"/>
          </a:xfr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1179838"/>
            <a:ext cx="3623050" cy="2583813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1179838"/>
            <a:ext cx="3634002" cy="2583814"/>
          </a:xfrm>
          <a:blipFill>
            <a:blip r:embed="rId4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3986233"/>
            <a:ext cx="3630521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3986233"/>
            <a:ext cx="3623050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3986233"/>
            <a:ext cx="3630521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 photo layout (with bullets)</a:t>
            </a:r>
          </a:p>
        </p:txBody>
      </p:sp>
    </p:spTree>
    <p:extLst>
      <p:ext uri="{BB962C8B-B14F-4D97-AF65-F5344CB8AC3E}">
        <p14:creationId xmlns:p14="http://schemas.microsoft.com/office/powerpoint/2010/main" val="3068079688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Six column text layou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536D72C-EFB8-4AA4-B6E9-DA9E980093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1206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C33CBA9-CFB9-46AA-8083-B5F0592E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5987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174EC55-6C81-4FBC-A5EF-0BD1F76D45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0768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E1BEB93-4ED4-4262-A137-E9EF68ABBF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549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067E8C-7901-4F06-A33F-B8EFCB540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50332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004632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658975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5982391" y="1179838"/>
            <a:ext cx="5780073" cy="3756460"/>
          </a:xfrm>
        </p:spPr>
        <p:txBody>
          <a:bodyPr anchor="ctr">
            <a:noAutofit/>
          </a:bodyPr>
          <a:lstStyle>
            <a:lvl1pPr algn="ctr">
              <a:defRPr sz="1765" b="1"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44854"/>
            <a:ext cx="513817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1996355998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7A4B0E3-3622-4031-99D8-5297F3444C5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78EF51-FF7D-4AF0-A0D8-5E7897E42042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EEE5920-1AA1-47AD-AA2A-1027EA1027F4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77791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360E70-26C3-491B-876D-D6CA248B1D14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AF0965-A0E8-49A1-B8BF-778086ADF37B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71CC4C2-FC7A-4AE9-9B5E-C49482524E2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9931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4E73804-9B47-4D7E-8A36-A9DB54B0F2BB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E555FE-1A25-470F-9400-806E2FDA6E4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tx1"/>
                  </a:solidFill>
                </a:rPr>
                <a:t>© Microsoft Corporation</a:t>
              </a:r>
              <a:endParaRPr lang="en-US" sz="784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ADAB30E-A5BE-4BDE-8420-731E8A2CBAB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2259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FBA475-1622-4E42-8C0A-6A71410B58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489"/>
          </a:xfrm>
          <a:prstGeom prst="rect">
            <a:avLst/>
          </a:prstGeom>
        </p:spPr>
      </p:pic>
      <p:sp>
        <p:nvSpPr>
          <p:cNvPr id="5" name="Title 35">
            <a:extLst>
              <a:ext uri="{FF2B5EF4-FFF2-40B4-BE49-F238E27FC236}">
                <a16:creationId xmlns:a16="http://schemas.microsoft.com/office/drawing/2014/main" id="{8441881C-06B8-4CD2-ADC6-DFD3519E6A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74916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6678495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B5A989-B33D-A043-A074-7F6AD654A9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3200691"/>
            <a:ext cx="3146711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206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dark gray">
    <p:bg>
      <p:bgPr>
        <a:solidFill>
          <a:srgbClr val="3535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4E7C5A-6554-964E-83C8-1AB5178180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3200691"/>
            <a:ext cx="3146711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946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5838650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73475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172144"/>
            <a:ext cx="10515600" cy="89255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>
              <a:defRPr/>
            </a:pPr>
            <a:endParaRPr lang="en-US" sz="7998" kern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1350" y="1510353"/>
            <a:ext cx="11680649" cy="5347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315303" y="1"/>
            <a:ext cx="1876697" cy="496389"/>
          </a:xfrm>
          <a:solidFill>
            <a:srgbClr val="002050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2000" b="1" kern="0" dirty="0">
                <a:solidFill>
                  <a:schemeClr val="bg1"/>
                </a:solidFill>
                <a:latin typeface="+mn-lt"/>
                <a:ea typeface="Segoe UI" panose="020B0502040204020203" pitchFamily="34" charset="0"/>
              </a:defRPr>
            </a:lvl1pPr>
          </a:lstStyle>
          <a:p>
            <a:pPr marL="0" lvl="0" algn="ctr" defTabSz="930858">
              <a:spcBef>
                <a:spcPts val="612"/>
              </a:spcBef>
            </a:pPr>
            <a:r>
              <a:rPr lang="en-US"/>
              <a:t>Category</a:t>
            </a:r>
          </a:p>
        </p:txBody>
      </p:sp>
    </p:spTree>
    <p:extLst>
      <p:ext uri="{BB962C8B-B14F-4D97-AF65-F5344CB8AC3E}">
        <p14:creationId xmlns:p14="http://schemas.microsoft.com/office/powerpoint/2010/main" val="257316729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1"/>
            <a:ext cx="11277599" cy="594360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D5C19BA-6DD0-2341-932F-962FA328D5D7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369353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356897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57200"/>
            <a:ext cx="11277599" cy="59436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1BB0E-11FF-4849-A437-1A08AE905469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369353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8743FE-41B9-984E-A69D-ECABFEB0E74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27732AA-D7B1-48A6-8C12-8974C5F0A104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111904" y="1866901"/>
            <a:ext cx="5622896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3475C84-786C-409E-B9CE-2261308DA6E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65152" y="1866901"/>
            <a:ext cx="5646753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5005606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12637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0456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4382466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219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37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10" name="TextBox 7">
            <a:extLst>
              <a:ext uri="{FF2B5EF4-FFF2-40B4-BE49-F238E27FC236}">
                <a16:creationId xmlns:a16="http://schemas.microsoft.com/office/drawing/2014/main" id="{159B70CA-162C-4108-ACA6-CEEA047F6AE6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53935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F9C77CE-6642-4EB3-964C-4757236312B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2404341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F799E92C-66C0-42AC-B537-87624873AE0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748409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43FF8C8-7F5A-4421-9447-1B05BF103B20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440151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779611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7A7BB0F-782C-4D9F-9090-0EA61980C6A3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743672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19AF4754-F11E-4E8F-BBFA-9E489F861B0D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0328192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A4A6C387-0A1F-4F01-A189-777EA61C60E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525203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2616517D-D5CD-4ABF-BB07-27B705B1ED45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239939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FA53395-9C25-4CB2-B341-C4A926CEFC07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88716432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E89C1FB2-6B75-46E5-9AA1-5BE3945FCA2E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281206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FE5F5BCB-2E29-4CD6-911A-DE5C1CED1D5F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5511213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E4895D9-8662-4A4F-98D4-0B8BC8B959B8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1198462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6" name="TextBox 7">
            <a:extLst>
              <a:ext uri="{FF2B5EF4-FFF2-40B4-BE49-F238E27FC236}">
                <a16:creationId xmlns:a16="http://schemas.microsoft.com/office/drawing/2014/main" id="{64E1D9FA-9E2F-48CB-9D5D-F452A17FA04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55465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4" name="TextBox 7">
            <a:extLst>
              <a:ext uri="{FF2B5EF4-FFF2-40B4-BE49-F238E27FC236}">
                <a16:creationId xmlns:a16="http://schemas.microsoft.com/office/drawing/2014/main" id="{E2C2C8D7-61A8-4984-AFD4-35DE8D9F804B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74550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272248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42124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6A51A04-EF84-4B1B-9E21-8F15035DF979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96132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5951E567-86DB-49D9-87EB-08DE2B1BC6D1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70257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2EF3E351-722F-45A0-BD85-698E055B98F1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5414574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2C852AFA-BC02-44DE-94C3-845604AD057E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89493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3284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19225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13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390756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B81D8C-4C31-41CF-81D0-4CC568E35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0D150-A9DE-4F39-86C9-7D38F43CCD86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47094DA-DA93-4CD2-A064-3DCB895FA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6DA05E-CF30-46A9-86AC-FEBDA78D1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F2C07D-92F8-4C70-8E18-1E2F4557176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36395F9-5D76-4DF3-A7A6-08A3F700E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205630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629641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imag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732971" y="6452314"/>
              <a:ext cx="5762172" cy="1043601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5762172"/>
                <a:gd name="connsiteY0" fmla="*/ 1865099 h 2282384"/>
                <a:gd name="connsiteX1" fmla="*/ 765629 w 5762172"/>
                <a:gd name="connsiteY1" fmla="*/ 13 h 2282384"/>
                <a:gd name="connsiteX2" fmla="*/ 1375229 w 5762172"/>
                <a:gd name="connsiteY2" fmla="*/ 1897756 h 2282384"/>
                <a:gd name="connsiteX3" fmla="*/ 2039258 w 5762172"/>
                <a:gd name="connsiteY3" fmla="*/ 801927 h 2282384"/>
                <a:gd name="connsiteX4" fmla="*/ 2525486 w 5762172"/>
                <a:gd name="connsiteY4" fmla="*/ 1846956 h 2282384"/>
                <a:gd name="connsiteX5" fmla="*/ 2989943 w 5762172"/>
                <a:gd name="connsiteY5" fmla="*/ 1273641 h 2282384"/>
                <a:gd name="connsiteX6" fmla="*/ 3305629 w 5762172"/>
                <a:gd name="connsiteY6" fmla="*/ 1763499 h 2282384"/>
                <a:gd name="connsiteX7" fmla="*/ 3701143 w 5762172"/>
                <a:gd name="connsiteY7" fmla="*/ 399156 h 2282384"/>
                <a:gd name="connsiteX8" fmla="*/ 4093029 w 5762172"/>
                <a:gd name="connsiteY8" fmla="*/ 1357099 h 2282384"/>
                <a:gd name="connsiteX9" fmla="*/ 4383315 w 5762172"/>
                <a:gd name="connsiteY9" fmla="*/ 747499 h 2282384"/>
                <a:gd name="connsiteX10" fmla="*/ 4822372 w 5762172"/>
                <a:gd name="connsiteY10" fmla="*/ 1886870 h 2282384"/>
                <a:gd name="connsiteX11" fmla="*/ 5308600 w 5762172"/>
                <a:gd name="connsiteY11" fmla="*/ 928927 h 2282384"/>
                <a:gd name="connsiteX12" fmla="*/ 5762172 w 5762172"/>
                <a:gd name="connsiteY12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172" h="2282384">
                  <a:moveTo>
                    <a:pt x="0" y="1865099"/>
                  </a:moveTo>
                  <a:cubicBezTo>
                    <a:pt x="255209" y="1666737"/>
                    <a:pt x="536424" y="-5430"/>
                    <a:pt x="765629" y="13"/>
                  </a:cubicBezTo>
                  <a:cubicBezTo>
                    <a:pt x="994834" y="5456"/>
                    <a:pt x="1162957" y="1764104"/>
                    <a:pt x="1375229" y="1897756"/>
                  </a:cubicBezTo>
                  <a:cubicBezTo>
                    <a:pt x="1587501" y="2031408"/>
                    <a:pt x="1847549" y="810394"/>
                    <a:pt x="2039258" y="801927"/>
                  </a:cubicBezTo>
                  <a:cubicBezTo>
                    <a:pt x="2230967" y="793460"/>
                    <a:pt x="2367039" y="1768337"/>
                    <a:pt x="2525486" y="1846956"/>
                  </a:cubicBezTo>
                  <a:cubicBezTo>
                    <a:pt x="2683933" y="1925575"/>
                    <a:pt x="2859919" y="1287550"/>
                    <a:pt x="2989943" y="1273641"/>
                  </a:cubicBezTo>
                  <a:cubicBezTo>
                    <a:pt x="3119967" y="1259732"/>
                    <a:pt x="3187096" y="1909247"/>
                    <a:pt x="3305629" y="1763499"/>
                  </a:cubicBezTo>
                  <a:cubicBezTo>
                    <a:pt x="3424162" y="1617752"/>
                    <a:pt x="3569910" y="466889"/>
                    <a:pt x="3701143" y="399156"/>
                  </a:cubicBezTo>
                  <a:cubicBezTo>
                    <a:pt x="3832376" y="331423"/>
                    <a:pt x="3979334" y="1299042"/>
                    <a:pt x="4093029" y="1357099"/>
                  </a:cubicBezTo>
                  <a:cubicBezTo>
                    <a:pt x="4206724" y="1415156"/>
                    <a:pt x="4261758" y="659204"/>
                    <a:pt x="4383315" y="747499"/>
                  </a:cubicBezTo>
                  <a:cubicBezTo>
                    <a:pt x="4504872" y="835794"/>
                    <a:pt x="4668158" y="1856632"/>
                    <a:pt x="4822372" y="1886870"/>
                  </a:cubicBezTo>
                  <a:cubicBezTo>
                    <a:pt x="4976586" y="1917108"/>
                    <a:pt x="5151967" y="863008"/>
                    <a:pt x="5308600" y="928927"/>
                  </a:cubicBezTo>
                  <a:cubicBezTo>
                    <a:pt x="5465233" y="994846"/>
                    <a:pt x="5613702" y="1638615"/>
                    <a:pt x="5762172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21" name="Group 120"/>
          <p:cNvGrpSpPr/>
          <p:nvPr userDrawn="1"/>
        </p:nvGrpSpPr>
        <p:grpSpPr>
          <a:xfrm rot="4480905">
            <a:off x="-193235" y="3476287"/>
            <a:ext cx="3437832" cy="4758449"/>
            <a:chOff x="9385524" y="2790411"/>
            <a:chExt cx="3437832" cy="4758449"/>
          </a:xfrm>
        </p:grpSpPr>
        <p:sp>
          <p:nvSpPr>
            <p:cNvPr id="122" name="Freeform: Shape 121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86645" y="3126797"/>
                <a:ext cx="1657518" cy="3532144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  <a:gd name="connsiteX0" fmla="*/ 1226774 w 1394417"/>
                  <a:gd name="connsiteY0" fmla="*/ 0 h 3334657"/>
                  <a:gd name="connsiteX1" fmla="*/ 660717 w 1394417"/>
                  <a:gd name="connsiteY1" fmla="*/ 254000 h 3334657"/>
                  <a:gd name="connsiteX2" fmla="*/ 1299345 w 1394417"/>
                  <a:gd name="connsiteY2" fmla="*/ 635000 h 3334657"/>
                  <a:gd name="connsiteX3" fmla="*/ 317 w 1394417"/>
                  <a:gd name="connsiteY3" fmla="*/ 1157514 h 3334657"/>
                  <a:gd name="connsiteX4" fmla="*/ 1168717 w 1394417"/>
                  <a:gd name="connsiteY4" fmla="*/ 2028371 h 3334657"/>
                  <a:gd name="connsiteX5" fmla="*/ 504688 w 1394417"/>
                  <a:gd name="connsiteY5" fmla="*/ 2630714 h 3334657"/>
                  <a:gd name="connsiteX6" fmla="*/ 1379174 w 1394417"/>
                  <a:gd name="connsiteY6" fmla="*/ 3066143 h 3334657"/>
                  <a:gd name="connsiteX7" fmla="*/ 1081631 w 1394417"/>
                  <a:gd name="connsiteY7" fmla="*/ 3334657 h 333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4417" h="3334657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53" name="Group 152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59" name="Freeform: Shape 158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Freeform: Shape 159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Freeform: Shape 160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Freeform: Shape 161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55" name="Freeform: Shape 154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Freeform: Shape 155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Freeform: Shape 156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Freeform: Shape 157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726449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04261"/>
            <a:ext cx="115824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953006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04261"/>
            <a:ext cx="57912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096000" y="1304261"/>
            <a:ext cx="57912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744807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269240" y="1189177"/>
            <a:ext cx="11653600" cy="466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L="609585" marR="0" lvl="0" indent="-423323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1219170" marR="0" lvl="1" indent="-397923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828754" marR="0" lvl="2" indent="-380990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1467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2438339" marR="0" lvl="3" indent="-372524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3047924" marR="0" lvl="4" indent="-372524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3657509" marR="0" lvl="5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4267093" marR="0" lvl="6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4876678" marR="0" lvl="7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5486263" marR="0" lvl="8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269240" y="289513"/>
            <a:ext cx="11656000" cy="803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Quattrocento Sans"/>
              <a:buNone/>
              <a:defRPr sz="4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23765638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463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669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390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994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658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568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29827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40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3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8D0D8F9C-9D73-432D-8577-60228C3C0A12}"/>
              </a:ext>
            </a:extLst>
          </p:cNvPr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6339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457315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70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70818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091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6523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0205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4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556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408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337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022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727234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3F7917-2784-4EB3-A54D-3B8C8F513F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60A789-C7A4-440A-969D-25A4EC3328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CAA607-2F02-4D3B-8255-F405C4B85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6BE0FB-3F75-4E2D-BF5C-98DC99729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1BE56F-BB96-4D48-9397-B042E386B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602128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BB64C7-0115-4B0D-9006-66DC391D4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10B0B0-480F-4A45-9106-EDE15E3C94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137FF6-08DD-446F-84A5-B51804534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F26919-5CA5-4C53-A2F1-F670393FF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FA11D-FB6C-4FB9-BEC3-ED85A2A59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374943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5A418-0AE6-4C20-B863-D9A75F034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42AE82-B0B5-4694-9EDB-A29A042B34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48735C-A3E8-44AD-B3F6-3F42EFBEBB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E3B71E-D5AA-4090-9607-B23B76D39E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6C8D4D-3467-4636-9770-43D063318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9248510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A000E-FD89-4F8F-A42A-E670D8878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BDAA16-4B91-4FFE-BE76-677B0B3F9C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D5EF01-6400-45C7-A5F1-AD1ABA3588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CB28D4-C852-4D20-854F-2AF786BE6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9F9265-5ACE-461C-9732-DDD1A38D8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922F03-F447-4CD3-A488-5B0DEAAC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7794519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4ABD9-EE01-4268-87DC-1F3899BDA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B10D19-26C8-451A-981C-D4DCAD778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CB04DD-65B4-470E-9A20-54FD81C82B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18D828-A7DE-4DE7-A373-ABE9F0E87C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DA3D15-AAF6-4425-B088-BCCB625FFC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459A8F-D15A-4F03-8FE2-F1A581962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CE4F7FC-85D8-4E14-8A73-0380EB88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58ED36-B9CF-4B20-B236-B6339DAE7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6519119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9CE1C-39C6-49A5-BCF1-01EAB92D6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4E604C-D60A-48D7-80F0-CF1622A72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698A8E-120F-4F59-8D21-BD662CDB4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0F9B65-0F94-4BFB-9103-85BB412D7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4604855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2CDD6F-A6B4-4270-A455-273C15CCF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525162-E0E5-423A-B508-4D09AE154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0023BD-3AF5-4527-B373-1DABDB9D4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5882803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6FF2D-727B-4178-91CB-06153A445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A95358-9DF2-4688-90F4-9A4CD6E717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665BE2-DD83-4F2E-9F92-6CF7826FF8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E40F1F-A84C-4750-9425-325D45E082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81C37C-D76D-4FB7-8CE9-99743E788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A41499-0149-490C-BEE2-CF7E184E9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99363073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71B106-2C16-47CF-A5F8-78F576079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467F68-3AFF-4B00-8F59-F893CE500E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F97233-F5EC-4C0F-999E-390353FA6F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99004D-E4BD-4D10-8E8D-7EBE499BE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C4DE27-C44C-4527-A8D3-AB0EBD740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A6A608-F02A-4205-9952-5BE249F51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79774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376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E8C16-D90E-4F10-99EA-2615B5CD6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18A40A-9CF2-45E7-AE97-027BE09646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67D9DF-D956-4051-8454-6C069C9BD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D628F9-2790-420A-A02B-FB620E1D8B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0CD679-F404-4183-A51D-F90E17C72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8890415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B6F22E-71E0-4AE2-ADEF-C6E46FA220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63ACC8-CA2D-4304-A31D-41FC8F1D22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7E4686-0944-453F-96B7-3D9B76BDA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5D9E9-86BA-4C05-A8F0-12B3360A1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A3A62F-AD8D-400E-8A1A-017147F0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7952063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5176" cy="73152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849056" y="1905000"/>
            <a:ext cx="3963432" cy="2324684"/>
          </a:xfrm>
        </p:spPr>
        <p:txBody>
          <a:bodyPr>
            <a:noAutofit/>
          </a:bodyPr>
          <a:lstStyle>
            <a:lvl1pPr>
              <a:defRPr sz="138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Q&amp;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9345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93751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0056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22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289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11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493385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1698134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94909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825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0639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5151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734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0151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066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116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03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0264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8603705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6825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7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3230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571" y="80690"/>
            <a:ext cx="1317744" cy="1237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89642" rIns="89642" bIns="8964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76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085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46669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0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88131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87044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6123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72910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2178837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01590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772661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kin (event name)">
    <p:bg bwMode="gray"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69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6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2" name="Group 81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25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2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0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white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white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8" name="Freeform 12"/>
            <p:cNvSpPr>
              <a:spLocks noEditPoints="1"/>
            </p:cNvSpPr>
            <p:nvPr/>
          </p:nvSpPr>
          <p:spPr bwMode="white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77" name="Group 76"/>
          <p:cNvGrpSpPr/>
          <p:nvPr userDrawn="1"/>
        </p:nvGrpSpPr>
        <p:grpSpPr>
          <a:xfrm>
            <a:off x="1004585" y="2308309"/>
            <a:ext cx="3321130" cy="437381"/>
            <a:chOff x="1092200" y="1960563"/>
            <a:chExt cx="3387726" cy="446088"/>
          </a:xfrm>
        </p:grpSpPr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1092200" y="1981201"/>
              <a:ext cx="344488" cy="317500"/>
            </a:xfrm>
            <a:custGeom>
              <a:avLst/>
              <a:gdLst>
                <a:gd name="T0" fmla="*/ 181 w 213"/>
                <a:gd name="T1" fmla="*/ 197 h 197"/>
                <a:gd name="T2" fmla="*/ 181 w 213"/>
                <a:gd name="T3" fmla="*/ 72 h 197"/>
                <a:gd name="T4" fmla="*/ 182 w 213"/>
                <a:gd name="T5" fmla="*/ 29 h 197"/>
                <a:gd name="T6" fmla="*/ 182 w 213"/>
                <a:gd name="T7" fmla="*/ 29 h 197"/>
                <a:gd name="T8" fmla="*/ 176 w 213"/>
                <a:gd name="T9" fmla="*/ 51 h 197"/>
                <a:gd name="T10" fmla="*/ 117 w 213"/>
                <a:gd name="T11" fmla="*/ 197 h 197"/>
                <a:gd name="T12" fmla="*/ 95 w 213"/>
                <a:gd name="T13" fmla="*/ 197 h 197"/>
                <a:gd name="T14" fmla="*/ 35 w 213"/>
                <a:gd name="T15" fmla="*/ 53 h 197"/>
                <a:gd name="T16" fmla="*/ 30 w 213"/>
                <a:gd name="T17" fmla="*/ 29 h 197"/>
                <a:gd name="T18" fmla="*/ 29 w 213"/>
                <a:gd name="T19" fmla="*/ 29 h 197"/>
                <a:gd name="T20" fmla="*/ 30 w 213"/>
                <a:gd name="T21" fmla="*/ 49 h 197"/>
                <a:gd name="T22" fmla="*/ 30 w 213"/>
                <a:gd name="T23" fmla="*/ 76 h 197"/>
                <a:gd name="T24" fmla="*/ 30 w 213"/>
                <a:gd name="T25" fmla="*/ 197 h 197"/>
                <a:gd name="T26" fmla="*/ 0 w 213"/>
                <a:gd name="T27" fmla="*/ 197 h 197"/>
                <a:gd name="T28" fmla="*/ 0 w 213"/>
                <a:gd name="T29" fmla="*/ 0 h 197"/>
                <a:gd name="T30" fmla="*/ 47 w 213"/>
                <a:gd name="T31" fmla="*/ 0 h 197"/>
                <a:gd name="T32" fmla="*/ 97 w 213"/>
                <a:gd name="T33" fmla="*/ 124 h 197"/>
                <a:gd name="T34" fmla="*/ 106 w 213"/>
                <a:gd name="T35" fmla="*/ 152 h 197"/>
                <a:gd name="T36" fmla="*/ 106 w 213"/>
                <a:gd name="T37" fmla="*/ 152 h 197"/>
                <a:gd name="T38" fmla="*/ 117 w 213"/>
                <a:gd name="T39" fmla="*/ 124 h 197"/>
                <a:gd name="T40" fmla="*/ 168 w 213"/>
                <a:gd name="T41" fmla="*/ 0 h 197"/>
                <a:gd name="T42" fmla="*/ 213 w 213"/>
                <a:gd name="T43" fmla="*/ 0 h 197"/>
                <a:gd name="T44" fmla="*/ 213 w 213"/>
                <a:gd name="T45" fmla="*/ 197 h 197"/>
                <a:gd name="T46" fmla="*/ 181 w 213"/>
                <a:gd name="T4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97">
                  <a:moveTo>
                    <a:pt x="181" y="197"/>
                  </a:moveTo>
                  <a:cubicBezTo>
                    <a:pt x="181" y="72"/>
                    <a:pt x="181" y="72"/>
                    <a:pt x="181" y="72"/>
                  </a:cubicBezTo>
                  <a:cubicBezTo>
                    <a:pt x="181" y="62"/>
                    <a:pt x="181" y="48"/>
                    <a:pt x="182" y="29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0" y="39"/>
                    <a:pt x="178" y="47"/>
                    <a:pt x="176" y="51"/>
                  </a:cubicBezTo>
                  <a:cubicBezTo>
                    <a:pt x="117" y="197"/>
                    <a:pt x="117" y="197"/>
                    <a:pt x="117" y="197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48"/>
                    <a:pt x="32" y="40"/>
                    <a:pt x="30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32"/>
                    <a:pt x="29" y="38"/>
                    <a:pt x="30" y="49"/>
                  </a:cubicBezTo>
                  <a:cubicBezTo>
                    <a:pt x="30" y="59"/>
                    <a:pt x="30" y="68"/>
                    <a:pt x="30" y="76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101" y="136"/>
                    <a:pt x="104" y="146"/>
                    <a:pt x="106" y="152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7" y="124"/>
                    <a:pt x="117" y="124"/>
                    <a:pt x="117" y="124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197"/>
                    <a:pt x="213" y="197"/>
                    <a:pt x="213" y="197"/>
                  </a:cubicBezTo>
                  <a:lnTo>
                    <a:pt x="181" y="1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1495425" y="2066926"/>
              <a:ext cx="233363" cy="236538"/>
            </a:xfrm>
            <a:custGeom>
              <a:avLst/>
              <a:gdLst>
                <a:gd name="T0" fmla="*/ 145 w 145"/>
                <a:gd name="T1" fmla="*/ 72 h 147"/>
                <a:gd name="T2" fmla="*/ 125 w 145"/>
                <a:gd name="T3" fmla="*/ 127 h 147"/>
                <a:gd name="T4" fmla="*/ 71 w 145"/>
                <a:gd name="T5" fmla="*/ 147 h 147"/>
                <a:gd name="T6" fmla="*/ 19 w 145"/>
                <a:gd name="T7" fmla="*/ 128 h 147"/>
                <a:gd name="T8" fmla="*/ 0 w 145"/>
                <a:gd name="T9" fmla="*/ 75 h 147"/>
                <a:gd name="T10" fmla="*/ 20 w 145"/>
                <a:gd name="T11" fmla="*/ 20 h 147"/>
                <a:gd name="T12" fmla="*/ 75 w 145"/>
                <a:gd name="T13" fmla="*/ 0 h 147"/>
                <a:gd name="T14" fmla="*/ 126 w 145"/>
                <a:gd name="T15" fmla="*/ 19 h 147"/>
                <a:gd name="T16" fmla="*/ 145 w 145"/>
                <a:gd name="T17" fmla="*/ 72 h 147"/>
                <a:gd name="T18" fmla="*/ 112 w 145"/>
                <a:gd name="T19" fmla="*/ 73 h 147"/>
                <a:gd name="T20" fmla="*/ 101 w 145"/>
                <a:gd name="T21" fmla="*/ 38 h 147"/>
                <a:gd name="T22" fmla="*/ 73 w 145"/>
                <a:gd name="T23" fmla="*/ 26 h 147"/>
                <a:gd name="T24" fmla="*/ 44 w 145"/>
                <a:gd name="T25" fmla="*/ 39 h 147"/>
                <a:gd name="T26" fmla="*/ 33 w 145"/>
                <a:gd name="T27" fmla="*/ 74 h 147"/>
                <a:gd name="T28" fmla="*/ 44 w 145"/>
                <a:gd name="T29" fmla="*/ 109 h 147"/>
                <a:gd name="T30" fmla="*/ 73 w 145"/>
                <a:gd name="T31" fmla="*/ 121 h 147"/>
                <a:gd name="T32" fmla="*/ 102 w 145"/>
                <a:gd name="T33" fmla="*/ 109 h 147"/>
                <a:gd name="T34" fmla="*/ 112 w 145"/>
                <a:gd name="T35" fmla="*/ 7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7">
                  <a:moveTo>
                    <a:pt x="145" y="72"/>
                  </a:moveTo>
                  <a:cubicBezTo>
                    <a:pt x="145" y="95"/>
                    <a:pt x="138" y="113"/>
                    <a:pt x="125" y="127"/>
                  </a:cubicBezTo>
                  <a:cubicBezTo>
                    <a:pt x="112" y="141"/>
                    <a:pt x="94" y="147"/>
                    <a:pt x="71" y="147"/>
                  </a:cubicBezTo>
                  <a:cubicBezTo>
                    <a:pt x="50" y="147"/>
                    <a:pt x="32" y="141"/>
                    <a:pt x="19" y="128"/>
                  </a:cubicBezTo>
                  <a:cubicBezTo>
                    <a:pt x="7" y="115"/>
                    <a:pt x="0" y="97"/>
                    <a:pt x="0" y="75"/>
                  </a:cubicBezTo>
                  <a:cubicBezTo>
                    <a:pt x="0" y="52"/>
                    <a:pt x="7" y="34"/>
                    <a:pt x="20" y="20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6"/>
                    <a:pt x="126" y="19"/>
                  </a:cubicBezTo>
                  <a:cubicBezTo>
                    <a:pt x="139" y="32"/>
                    <a:pt x="145" y="50"/>
                    <a:pt x="145" y="72"/>
                  </a:cubicBezTo>
                  <a:close/>
                  <a:moveTo>
                    <a:pt x="112" y="73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0"/>
                    <a:pt x="44" y="39"/>
                  </a:cubicBezTo>
                  <a:cubicBezTo>
                    <a:pt x="37" y="47"/>
                    <a:pt x="33" y="59"/>
                    <a:pt x="33" y="74"/>
                  </a:cubicBezTo>
                  <a:cubicBezTo>
                    <a:pt x="33" y="89"/>
                    <a:pt x="37" y="101"/>
                    <a:pt x="44" y="109"/>
                  </a:cubicBezTo>
                  <a:cubicBezTo>
                    <a:pt x="51" y="117"/>
                    <a:pt x="61" y="121"/>
                    <a:pt x="73" y="121"/>
                  </a:cubicBezTo>
                  <a:cubicBezTo>
                    <a:pt x="86" y="121"/>
                    <a:pt x="95" y="117"/>
                    <a:pt x="102" y="109"/>
                  </a:cubicBezTo>
                  <a:cubicBezTo>
                    <a:pt x="108" y="101"/>
                    <a:pt x="112" y="89"/>
                    <a:pt x="112" y="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1765300" y="1962151"/>
              <a:ext cx="222250" cy="341313"/>
            </a:xfrm>
            <a:custGeom>
              <a:avLst/>
              <a:gdLst>
                <a:gd name="T0" fmla="*/ 105 w 137"/>
                <a:gd name="T1" fmla="*/ 208 h 211"/>
                <a:gd name="T2" fmla="*/ 105 w 137"/>
                <a:gd name="T3" fmla="*/ 186 h 211"/>
                <a:gd name="T4" fmla="*/ 105 w 137"/>
                <a:gd name="T5" fmla="*/ 186 h 211"/>
                <a:gd name="T6" fmla="*/ 58 w 137"/>
                <a:gd name="T7" fmla="*/ 211 h 211"/>
                <a:gd name="T8" fmla="*/ 16 w 137"/>
                <a:gd name="T9" fmla="*/ 192 h 211"/>
                <a:gd name="T10" fmla="*/ 0 w 137"/>
                <a:gd name="T11" fmla="*/ 141 h 211"/>
                <a:gd name="T12" fmla="*/ 18 w 137"/>
                <a:gd name="T13" fmla="*/ 85 h 211"/>
                <a:gd name="T14" fmla="*/ 65 w 137"/>
                <a:gd name="T15" fmla="*/ 64 h 211"/>
                <a:gd name="T16" fmla="*/ 88 w 137"/>
                <a:gd name="T17" fmla="*/ 69 h 211"/>
                <a:gd name="T18" fmla="*/ 105 w 137"/>
                <a:gd name="T19" fmla="*/ 85 h 211"/>
                <a:gd name="T20" fmla="*/ 105 w 137"/>
                <a:gd name="T21" fmla="*/ 85 h 211"/>
                <a:gd name="T22" fmla="*/ 105 w 137"/>
                <a:gd name="T23" fmla="*/ 0 h 211"/>
                <a:gd name="T24" fmla="*/ 137 w 137"/>
                <a:gd name="T25" fmla="*/ 0 h 211"/>
                <a:gd name="T26" fmla="*/ 137 w 137"/>
                <a:gd name="T27" fmla="*/ 208 h 211"/>
                <a:gd name="T28" fmla="*/ 105 w 137"/>
                <a:gd name="T29" fmla="*/ 208 h 211"/>
                <a:gd name="T30" fmla="*/ 105 w 137"/>
                <a:gd name="T31" fmla="*/ 126 h 211"/>
                <a:gd name="T32" fmla="*/ 95 w 137"/>
                <a:gd name="T33" fmla="*/ 100 h 211"/>
                <a:gd name="T34" fmla="*/ 71 w 137"/>
                <a:gd name="T35" fmla="*/ 90 h 211"/>
                <a:gd name="T36" fmla="*/ 43 w 137"/>
                <a:gd name="T37" fmla="*/ 103 h 211"/>
                <a:gd name="T38" fmla="*/ 33 w 137"/>
                <a:gd name="T39" fmla="*/ 140 h 211"/>
                <a:gd name="T40" fmla="*/ 43 w 137"/>
                <a:gd name="T41" fmla="*/ 173 h 211"/>
                <a:gd name="T42" fmla="*/ 69 w 137"/>
                <a:gd name="T43" fmla="*/ 185 h 211"/>
                <a:gd name="T44" fmla="*/ 95 w 137"/>
                <a:gd name="T45" fmla="*/ 173 h 211"/>
                <a:gd name="T46" fmla="*/ 105 w 137"/>
                <a:gd name="T47" fmla="*/ 142 h 211"/>
                <a:gd name="T48" fmla="*/ 105 w 137"/>
                <a:gd name="T49" fmla="*/ 12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211">
                  <a:moveTo>
                    <a:pt x="105" y="208"/>
                  </a:moveTo>
                  <a:cubicBezTo>
                    <a:pt x="105" y="186"/>
                    <a:pt x="105" y="186"/>
                    <a:pt x="105" y="186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95" y="203"/>
                    <a:pt x="79" y="211"/>
                    <a:pt x="58" y="211"/>
                  </a:cubicBezTo>
                  <a:cubicBezTo>
                    <a:pt x="41" y="211"/>
                    <a:pt x="27" y="205"/>
                    <a:pt x="16" y="192"/>
                  </a:cubicBezTo>
                  <a:cubicBezTo>
                    <a:pt x="5" y="180"/>
                    <a:pt x="0" y="163"/>
                    <a:pt x="0" y="141"/>
                  </a:cubicBezTo>
                  <a:cubicBezTo>
                    <a:pt x="0" y="118"/>
                    <a:pt x="6" y="99"/>
                    <a:pt x="18" y="85"/>
                  </a:cubicBezTo>
                  <a:cubicBezTo>
                    <a:pt x="29" y="71"/>
                    <a:pt x="45" y="64"/>
                    <a:pt x="65" y="64"/>
                  </a:cubicBezTo>
                  <a:cubicBezTo>
                    <a:pt x="74" y="64"/>
                    <a:pt x="81" y="66"/>
                    <a:pt x="88" y="69"/>
                  </a:cubicBezTo>
                  <a:cubicBezTo>
                    <a:pt x="95" y="73"/>
                    <a:pt x="101" y="78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208"/>
                    <a:pt x="137" y="208"/>
                    <a:pt x="137" y="208"/>
                  </a:cubicBezTo>
                  <a:lnTo>
                    <a:pt x="105" y="208"/>
                  </a:lnTo>
                  <a:close/>
                  <a:moveTo>
                    <a:pt x="105" y="126"/>
                  </a:moveTo>
                  <a:cubicBezTo>
                    <a:pt x="105" y="116"/>
                    <a:pt x="102" y="107"/>
                    <a:pt x="95" y="100"/>
                  </a:cubicBezTo>
                  <a:cubicBezTo>
                    <a:pt x="89" y="93"/>
                    <a:pt x="81" y="90"/>
                    <a:pt x="71" y="90"/>
                  </a:cubicBezTo>
                  <a:cubicBezTo>
                    <a:pt x="59" y="90"/>
                    <a:pt x="50" y="94"/>
                    <a:pt x="43" y="103"/>
                  </a:cubicBezTo>
                  <a:cubicBezTo>
                    <a:pt x="36" y="112"/>
                    <a:pt x="33" y="124"/>
                    <a:pt x="33" y="140"/>
                  </a:cubicBezTo>
                  <a:cubicBezTo>
                    <a:pt x="33" y="154"/>
                    <a:pt x="36" y="165"/>
                    <a:pt x="43" y="173"/>
                  </a:cubicBezTo>
                  <a:cubicBezTo>
                    <a:pt x="49" y="181"/>
                    <a:pt x="58" y="185"/>
                    <a:pt x="69" y="185"/>
                  </a:cubicBezTo>
                  <a:cubicBezTo>
                    <a:pt x="79" y="185"/>
                    <a:pt x="88" y="181"/>
                    <a:pt x="95" y="173"/>
                  </a:cubicBezTo>
                  <a:cubicBezTo>
                    <a:pt x="102" y="165"/>
                    <a:pt x="105" y="155"/>
                    <a:pt x="105" y="142"/>
                  </a:cubicBezTo>
                  <a:lnTo>
                    <a:pt x="10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0" name="Freeform 36"/>
            <p:cNvSpPr>
              <a:spLocks noEditPoints="1"/>
            </p:cNvSpPr>
            <p:nvPr userDrawn="1"/>
          </p:nvSpPr>
          <p:spPr bwMode="auto">
            <a:xfrm>
              <a:off x="2039938" y="2066926"/>
              <a:ext cx="207963" cy="236538"/>
            </a:xfrm>
            <a:custGeom>
              <a:avLst/>
              <a:gdLst>
                <a:gd name="T0" fmla="*/ 32 w 128"/>
                <a:gd name="T1" fmla="*/ 83 h 147"/>
                <a:gd name="T2" fmla="*/ 44 w 128"/>
                <a:gd name="T3" fmla="*/ 112 h 147"/>
                <a:gd name="T4" fmla="*/ 75 w 128"/>
                <a:gd name="T5" fmla="*/ 122 h 147"/>
                <a:gd name="T6" fmla="*/ 98 w 128"/>
                <a:gd name="T7" fmla="*/ 118 h 147"/>
                <a:gd name="T8" fmla="*/ 117 w 128"/>
                <a:gd name="T9" fmla="*/ 109 h 147"/>
                <a:gd name="T10" fmla="*/ 117 w 128"/>
                <a:gd name="T11" fmla="*/ 136 h 147"/>
                <a:gd name="T12" fmla="*/ 95 w 128"/>
                <a:gd name="T13" fmla="*/ 144 h 147"/>
                <a:gd name="T14" fmla="*/ 67 w 128"/>
                <a:gd name="T15" fmla="*/ 147 h 147"/>
                <a:gd name="T16" fmla="*/ 17 w 128"/>
                <a:gd name="T17" fmla="*/ 128 h 147"/>
                <a:gd name="T18" fmla="*/ 0 w 128"/>
                <a:gd name="T19" fmla="*/ 75 h 147"/>
                <a:gd name="T20" fmla="*/ 9 w 128"/>
                <a:gd name="T21" fmla="*/ 36 h 147"/>
                <a:gd name="T22" fmla="*/ 33 w 128"/>
                <a:gd name="T23" fmla="*/ 9 h 147"/>
                <a:gd name="T24" fmla="*/ 67 w 128"/>
                <a:gd name="T25" fmla="*/ 0 h 147"/>
                <a:gd name="T26" fmla="*/ 112 w 128"/>
                <a:gd name="T27" fmla="*/ 18 h 147"/>
                <a:gd name="T28" fmla="*/ 128 w 128"/>
                <a:gd name="T29" fmla="*/ 67 h 147"/>
                <a:gd name="T30" fmla="*/ 128 w 128"/>
                <a:gd name="T31" fmla="*/ 83 h 147"/>
                <a:gd name="T32" fmla="*/ 32 w 128"/>
                <a:gd name="T33" fmla="*/ 83 h 147"/>
                <a:gd name="T34" fmla="*/ 97 w 128"/>
                <a:gd name="T35" fmla="*/ 59 h 147"/>
                <a:gd name="T36" fmla="*/ 89 w 128"/>
                <a:gd name="T37" fmla="*/ 34 h 147"/>
                <a:gd name="T38" fmla="*/ 67 w 128"/>
                <a:gd name="T39" fmla="*/ 25 h 147"/>
                <a:gd name="T40" fmla="*/ 44 w 128"/>
                <a:gd name="T41" fmla="*/ 34 h 147"/>
                <a:gd name="T42" fmla="*/ 32 w 128"/>
                <a:gd name="T43" fmla="*/ 59 h 147"/>
                <a:gd name="T44" fmla="*/ 97 w 128"/>
                <a:gd name="T45" fmla="*/ 5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7">
                  <a:moveTo>
                    <a:pt x="32" y="83"/>
                  </a:moveTo>
                  <a:cubicBezTo>
                    <a:pt x="33" y="96"/>
                    <a:pt x="37" y="106"/>
                    <a:pt x="44" y="112"/>
                  </a:cubicBezTo>
                  <a:cubicBezTo>
                    <a:pt x="51" y="119"/>
                    <a:pt x="61" y="122"/>
                    <a:pt x="75" y="122"/>
                  </a:cubicBezTo>
                  <a:cubicBezTo>
                    <a:pt x="83" y="122"/>
                    <a:pt x="90" y="121"/>
                    <a:pt x="98" y="118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39"/>
                    <a:pt x="104" y="142"/>
                    <a:pt x="95" y="144"/>
                  </a:cubicBezTo>
                  <a:cubicBezTo>
                    <a:pt x="86" y="146"/>
                    <a:pt x="77" y="147"/>
                    <a:pt x="67" y="147"/>
                  </a:cubicBezTo>
                  <a:cubicBezTo>
                    <a:pt x="46" y="147"/>
                    <a:pt x="29" y="141"/>
                    <a:pt x="17" y="128"/>
                  </a:cubicBezTo>
                  <a:cubicBezTo>
                    <a:pt x="6" y="115"/>
                    <a:pt x="0" y="98"/>
                    <a:pt x="0" y="75"/>
                  </a:cubicBezTo>
                  <a:cubicBezTo>
                    <a:pt x="0" y="60"/>
                    <a:pt x="3" y="47"/>
                    <a:pt x="9" y="36"/>
                  </a:cubicBezTo>
                  <a:cubicBezTo>
                    <a:pt x="14" y="24"/>
                    <a:pt x="22" y="16"/>
                    <a:pt x="33" y="9"/>
                  </a:cubicBezTo>
                  <a:cubicBezTo>
                    <a:pt x="43" y="3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6"/>
                    <a:pt x="128" y="67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7" y="59"/>
                  </a:moveTo>
                  <a:cubicBezTo>
                    <a:pt x="97" y="48"/>
                    <a:pt x="94" y="39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1" y="28"/>
                    <a:pt x="44" y="34"/>
                  </a:cubicBezTo>
                  <a:cubicBezTo>
                    <a:pt x="38" y="41"/>
                    <a:pt x="34" y="49"/>
                    <a:pt x="32" y="59"/>
                  </a:cubicBezTo>
                  <a:lnTo>
                    <a:pt x="97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2295525" y="2068513"/>
              <a:ext cx="131763" cy="230188"/>
            </a:xfrm>
            <a:custGeom>
              <a:avLst/>
              <a:gdLst>
                <a:gd name="T0" fmla="*/ 81 w 81"/>
                <a:gd name="T1" fmla="*/ 33 h 143"/>
                <a:gd name="T2" fmla="*/ 73 w 81"/>
                <a:gd name="T3" fmla="*/ 30 h 143"/>
                <a:gd name="T4" fmla="*/ 63 w 81"/>
                <a:gd name="T5" fmla="*/ 28 h 143"/>
                <a:gd name="T6" fmla="*/ 41 w 81"/>
                <a:gd name="T7" fmla="*/ 40 h 143"/>
                <a:gd name="T8" fmla="*/ 32 w 81"/>
                <a:gd name="T9" fmla="*/ 71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2 h 143"/>
                <a:gd name="T16" fmla="*/ 32 w 81"/>
                <a:gd name="T17" fmla="*/ 2 h 143"/>
                <a:gd name="T18" fmla="*/ 32 w 81"/>
                <a:gd name="T19" fmla="*/ 30 h 143"/>
                <a:gd name="T20" fmla="*/ 33 w 81"/>
                <a:gd name="T21" fmla="*/ 30 h 143"/>
                <a:gd name="T22" fmla="*/ 47 w 81"/>
                <a:gd name="T23" fmla="*/ 8 h 143"/>
                <a:gd name="T24" fmla="*/ 69 w 81"/>
                <a:gd name="T25" fmla="*/ 0 h 143"/>
                <a:gd name="T26" fmla="*/ 81 w 81"/>
                <a:gd name="T27" fmla="*/ 2 h 143"/>
                <a:gd name="T28" fmla="*/ 81 w 81"/>
                <a:gd name="T29" fmla="*/ 3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3"/>
                  </a:moveTo>
                  <a:cubicBezTo>
                    <a:pt x="80" y="32"/>
                    <a:pt x="77" y="31"/>
                    <a:pt x="73" y="30"/>
                  </a:cubicBezTo>
                  <a:cubicBezTo>
                    <a:pt x="70" y="29"/>
                    <a:pt x="66" y="28"/>
                    <a:pt x="63" y="28"/>
                  </a:cubicBezTo>
                  <a:cubicBezTo>
                    <a:pt x="54" y="28"/>
                    <a:pt x="46" y="32"/>
                    <a:pt x="41" y="40"/>
                  </a:cubicBezTo>
                  <a:cubicBezTo>
                    <a:pt x="35" y="48"/>
                    <a:pt x="32" y="58"/>
                    <a:pt x="32" y="71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6" y="20"/>
                    <a:pt x="41" y="13"/>
                    <a:pt x="47" y="8"/>
                  </a:cubicBezTo>
                  <a:cubicBezTo>
                    <a:pt x="53" y="2"/>
                    <a:pt x="60" y="0"/>
                    <a:pt x="69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466975" y="2066926"/>
              <a:ext cx="201613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27273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20 w 39"/>
                <a:gd name="T5" fmla="*/ 37 h 209"/>
                <a:gd name="T6" fmla="*/ 6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20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30" y="35"/>
                    <a:pt x="25" y="37"/>
                    <a:pt x="20" y="37"/>
                  </a:cubicBezTo>
                  <a:cubicBezTo>
                    <a:pt x="14" y="37"/>
                    <a:pt x="10" y="35"/>
                    <a:pt x="6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5" y="0"/>
                    <a:pt x="30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2824163" y="2071688"/>
              <a:ext cx="193675" cy="227013"/>
            </a:xfrm>
            <a:custGeom>
              <a:avLst/>
              <a:gdLst>
                <a:gd name="T0" fmla="*/ 46 w 122"/>
                <a:gd name="T1" fmla="*/ 117 h 143"/>
                <a:gd name="T2" fmla="*/ 122 w 122"/>
                <a:gd name="T3" fmla="*/ 117 h 143"/>
                <a:gd name="T4" fmla="*/ 122 w 122"/>
                <a:gd name="T5" fmla="*/ 143 h 143"/>
                <a:gd name="T6" fmla="*/ 0 w 122"/>
                <a:gd name="T7" fmla="*/ 143 h 143"/>
                <a:gd name="T8" fmla="*/ 0 w 122"/>
                <a:gd name="T9" fmla="*/ 132 h 143"/>
                <a:gd name="T10" fmla="*/ 77 w 122"/>
                <a:gd name="T11" fmla="*/ 26 h 143"/>
                <a:gd name="T12" fmla="*/ 8 w 122"/>
                <a:gd name="T13" fmla="*/ 26 h 143"/>
                <a:gd name="T14" fmla="*/ 8 w 122"/>
                <a:gd name="T15" fmla="*/ 0 h 143"/>
                <a:gd name="T16" fmla="*/ 122 w 122"/>
                <a:gd name="T17" fmla="*/ 0 h 143"/>
                <a:gd name="T18" fmla="*/ 122 w 122"/>
                <a:gd name="T19" fmla="*/ 12 h 143"/>
                <a:gd name="T20" fmla="*/ 46 w 122"/>
                <a:gd name="T21" fmla="*/ 1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43">
                  <a:moveTo>
                    <a:pt x="46" y="117"/>
                  </a:moveTo>
                  <a:lnTo>
                    <a:pt x="122" y="117"/>
                  </a:lnTo>
                  <a:lnTo>
                    <a:pt x="122" y="143"/>
                  </a:lnTo>
                  <a:lnTo>
                    <a:pt x="0" y="143"/>
                  </a:lnTo>
                  <a:lnTo>
                    <a:pt x="0" y="132"/>
                  </a:lnTo>
                  <a:lnTo>
                    <a:pt x="77" y="26"/>
                  </a:lnTo>
                  <a:lnTo>
                    <a:pt x="8" y="26"/>
                  </a:lnTo>
                  <a:lnTo>
                    <a:pt x="8" y="0"/>
                  </a:lnTo>
                  <a:lnTo>
                    <a:pt x="122" y="0"/>
                  </a:lnTo>
                  <a:lnTo>
                    <a:pt x="122" y="12"/>
                  </a:lnTo>
                  <a:lnTo>
                    <a:pt x="46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0575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19 w 39"/>
                <a:gd name="T5" fmla="*/ 37 h 209"/>
                <a:gd name="T6" fmla="*/ 5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19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29" y="35"/>
                    <a:pt x="25" y="37"/>
                    <a:pt x="19" y="37"/>
                  </a:cubicBezTo>
                  <a:cubicBezTo>
                    <a:pt x="14" y="37"/>
                    <a:pt x="9" y="35"/>
                    <a:pt x="5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5" y="0"/>
                    <a:pt x="29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182938" y="2066926"/>
              <a:ext cx="203200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7" name="Freeform 43"/>
            <p:cNvSpPr>
              <a:spLocks noEditPoints="1"/>
            </p:cNvSpPr>
            <p:nvPr userDrawn="1"/>
          </p:nvSpPr>
          <p:spPr bwMode="auto">
            <a:xfrm>
              <a:off x="3433763" y="2066926"/>
              <a:ext cx="220663" cy="339725"/>
            </a:xfrm>
            <a:custGeom>
              <a:avLst/>
              <a:gdLst>
                <a:gd name="T0" fmla="*/ 137 w 137"/>
                <a:gd name="T1" fmla="*/ 131 h 210"/>
                <a:gd name="T2" fmla="*/ 116 w 137"/>
                <a:gd name="T3" fmla="*/ 190 h 210"/>
                <a:gd name="T4" fmla="*/ 57 w 137"/>
                <a:gd name="T5" fmla="*/ 210 h 210"/>
                <a:gd name="T6" fmla="*/ 32 w 137"/>
                <a:gd name="T7" fmla="*/ 207 h 210"/>
                <a:gd name="T8" fmla="*/ 11 w 137"/>
                <a:gd name="T9" fmla="*/ 201 h 210"/>
                <a:gd name="T10" fmla="*/ 11 w 137"/>
                <a:gd name="T11" fmla="*/ 171 h 210"/>
                <a:gd name="T12" fmla="*/ 35 w 137"/>
                <a:gd name="T13" fmla="*/ 182 h 210"/>
                <a:gd name="T14" fmla="*/ 57 w 137"/>
                <a:gd name="T15" fmla="*/ 184 h 210"/>
                <a:gd name="T16" fmla="*/ 92 w 137"/>
                <a:gd name="T17" fmla="*/ 172 h 210"/>
                <a:gd name="T18" fmla="*/ 105 w 137"/>
                <a:gd name="T19" fmla="*/ 135 h 210"/>
                <a:gd name="T20" fmla="*/ 105 w 137"/>
                <a:gd name="T21" fmla="*/ 122 h 210"/>
                <a:gd name="T22" fmla="*/ 104 w 137"/>
                <a:gd name="T23" fmla="*/ 122 h 210"/>
                <a:gd name="T24" fmla="*/ 86 w 137"/>
                <a:gd name="T25" fmla="*/ 141 h 210"/>
                <a:gd name="T26" fmla="*/ 58 w 137"/>
                <a:gd name="T27" fmla="*/ 147 h 210"/>
                <a:gd name="T28" fmla="*/ 16 w 137"/>
                <a:gd name="T29" fmla="*/ 129 h 210"/>
                <a:gd name="T30" fmla="*/ 0 w 137"/>
                <a:gd name="T31" fmla="*/ 78 h 210"/>
                <a:gd name="T32" fmla="*/ 17 w 137"/>
                <a:gd name="T33" fmla="*/ 21 h 210"/>
                <a:gd name="T34" fmla="*/ 64 w 137"/>
                <a:gd name="T35" fmla="*/ 0 h 210"/>
                <a:gd name="T36" fmla="*/ 104 w 137"/>
                <a:gd name="T37" fmla="*/ 21 h 210"/>
                <a:gd name="T38" fmla="*/ 105 w 137"/>
                <a:gd name="T39" fmla="*/ 21 h 210"/>
                <a:gd name="T40" fmla="*/ 105 w 137"/>
                <a:gd name="T41" fmla="*/ 3 h 210"/>
                <a:gd name="T42" fmla="*/ 137 w 137"/>
                <a:gd name="T43" fmla="*/ 3 h 210"/>
                <a:gd name="T44" fmla="*/ 137 w 137"/>
                <a:gd name="T45" fmla="*/ 131 h 210"/>
                <a:gd name="T46" fmla="*/ 105 w 137"/>
                <a:gd name="T47" fmla="*/ 62 h 210"/>
                <a:gd name="T48" fmla="*/ 95 w 137"/>
                <a:gd name="T49" fmla="*/ 36 h 210"/>
                <a:gd name="T50" fmla="*/ 71 w 137"/>
                <a:gd name="T51" fmla="*/ 26 h 210"/>
                <a:gd name="T52" fmla="*/ 43 w 137"/>
                <a:gd name="T53" fmla="*/ 39 h 210"/>
                <a:gd name="T54" fmla="*/ 33 w 137"/>
                <a:gd name="T55" fmla="*/ 77 h 210"/>
                <a:gd name="T56" fmla="*/ 43 w 137"/>
                <a:gd name="T57" fmla="*/ 109 h 210"/>
                <a:gd name="T58" fmla="*/ 68 w 137"/>
                <a:gd name="T59" fmla="*/ 121 h 210"/>
                <a:gd name="T60" fmla="*/ 95 w 137"/>
                <a:gd name="T61" fmla="*/ 109 h 210"/>
                <a:gd name="T62" fmla="*/ 105 w 137"/>
                <a:gd name="T63" fmla="*/ 78 h 210"/>
                <a:gd name="T64" fmla="*/ 105 w 137"/>
                <a:gd name="T65" fmla="*/ 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210">
                  <a:moveTo>
                    <a:pt x="137" y="131"/>
                  </a:moveTo>
                  <a:cubicBezTo>
                    <a:pt x="137" y="156"/>
                    <a:pt x="130" y="176"/>
                    <a:pt x="116" y="190"/>
                  </a:cubicBezTo>
                  <a:cubicBezTo>
                    <a:pt x="102" y="203"/>
                    <a:pt x="83" y="210"/>
                    <a:pt x="57" y="210"/>
                  </a:cubicBezTo>
                  <a:cubicBezTo>
                    <a:pt x="49" y="210"/>
                    <a:pt x="40" y="209"/>
                    <a:pt x="32" y="207"/>
                  </a:cubicBezTo>
                  <a:cubicBezTo>
                    <a:pt x="23" y="206"/>
                    <a:pt x="16" y="204"/>
                    <a:pt x="11" y="201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20" y="176"/>
                    <a:pt x="28" y="180"/>
                    <a:pt x="35" y="182"/>
                  </a:cubicBezTo>
                  <a:cubicBezTo>
                    <a:pt x="42" y="184"/>
                    <a:pt x="50" y="184"/>
                    <a:pt x="57" y="184"/>
                  </a:cubicBezTo>
                  <a:cubicBezTo>
                    <a:pt x="72" y="184"/>
                    <a:pt x="84" y="180"/>
                    <a:pt x="92" y="172"/>
                  </a:cubicBezTo>
                  <a:cubicBezTo>
                    <a:pt x="101" y="164"/>
                    <a:pt x="105" y="151"/>
                    <a:pt x="105" y="135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99" y="130"/>
                    <a:pt x="93" y="136"/>
                    <a:pt x="86" y="141"/>
                  </a:cubicBezTo>
                  <a:cubicBezTo>
                    <a:pt x="79" y="145"/>
                    <a:pt x="69" y="147"/>
                    <a:pt x="58" y="147"/>
                  </a:cubicBezTo>
                  <a:cubicBezTo>
                    <a:pt x="41" y="147"/>
                    <a:pt x="26" y="141"/>
                    <a:pt x="16" y="129"/>
                  </a:cubicBezTo>
                  <a:cubicBezTo>
                    <a:pt x="5" y="116"/>
                    <a:pt x="0" y="99"/>
                    <a:pt x="0" y="78"/>
                  </a:cubicBezTo>
                  <a:cubicBezTo>
                    <a:pt x="0" y="54"/>
                    <a:pt x="6" y="35"/>
                    <a:pt x="17" y="21"/>
                  </a:cubicBezTo>
                  <a:cubicBezTo>
                    <a:pt x="29" y="7"/>
                    <a:pt x="45" y="0"/>
                    <a:pt x="64" y="0"/>
                  </a:cubicBezTo>
                  <a:cubicBezTo>
                    <a:pt x="82" y="0"/>
                    <a:pt x="95" y="7"/>
                    <a:pt x="104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37" y="3"/>
                    <a:pt x="137" y="3"/>
                    <a:pt x="137" y="3"/>
                  </a:cubicBezTo>
                  <a:lnTo>
                    <a:pt x="137" y="131"/>
                  </a:lnTo>
                  <a:close/>
                  <a:moveTo>
                    <a:pt x="105" y="62"/>
                  </a:moveTo>
                  <a:cubicBezTo>
                    <a:pt x="105" y="52"/>
                    <a:pt x="102" y="43"/>
                    <a:pt x="95" y="36"/>
                  </a:cubicBezTo>
                  <a:cubicBezTo>
                    <a:pt x="89" y="29"/>
                    <a:pt x="80" y="26"/>
                    <a:pt x="71" y="26"/>
                  </a:cubicBezTo>
                  <a:cubicBezTo>
                    <a:pt x="59" y="26"/>
                    <a:pt x="49" y="30"/>
                    <a:pt x="43" y="39"/>
                  </a:cubicBezTo>
                  <a:cubicBezTo>
                    <a:pt x="36" y="48"/>
                    <a:pt x="33" y="60"/>
                    <a:pt x="33" y="77"/>
                  </a:cubicBezTo>
                  <a:cubicBezTo>
                    <a:pt x="33" y="91"/>
                    <a:pt x="36" y="101"/>
                    <a:pt x="43" y="109"/>
                  </a:cubicBezTo>
                  <a:cubicBezTo>
                    <a:pt x="49" y="117"/>
                    <a:pt x="58" y="121"/>
                    <a:pt x="68" y="121"/>
                  </a:cubicBezTo>
                  <a:cubicBezTo>
                    <a:pt x="79" y="121"/>
                    <a:pt x="88" y="117"/>
                    <a:pt x="95" y="109"/>
                  </a:cubicBezTo>
                  <a:cubicBezTo>
                    <a:pt x="102" y="101"/>
                    <a:pt x="105" y="91"/>
                    <a:pt x="105" y="78"/>
                  </a:cubicBezTo>
                  <a:lnTo>
                    <a:pt x="105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8" name="Freeform 44"/>
            <p:cNvSpPr>
              <a:spLocks/>
            </p:cNvSpPr>
            <p:nvPr userDrawn="1"/>
          </p:nvSpPr>
          <p:spPr bwMode="auto">
            <a:xfrm>
              <a:off x="3795713" y="2058988"/>
              <a:ext cx="198438" cy="239713"/>
            </a:xfrm>
            <a:custGeom>
              <a:avLst/>
              <a:gdLst>
                <a:gd name="T0" fmla="*/ 73 w 123"/>
                <a:gd name="T1" fmla="*/ 95 h 149"/>
                <a:gd name="T2" fmla="*/ 73 w 123"/>
                <a:gd name="T3" fmla="*/ 149 h 149"/>
                <a:gd name="T4" fmla="*/ 48 w 123"/>
                <a:gd name="T5" fmla="*/ 149 h 149"/>
                <a:gd name="T6" fmla="*/ 48 w 123"/>
                <a:gd name="T7" fmla="*/ 95 h 149"/>
                <a:gd name="T8" fmla="*/ 0 w 123"/>
                <a:gd name="T9" fmla="*/ 0 h 149"/>
                <a:gd name="T10" fmla="*/ 28 w 123"/>
                <a:gd name="T11" fmla="*/ 0 h 149"/>
                <a:gd name="T12" fmla="*/ 58 w 123"/>
                <a:gd name="T13" fmla="*/ 62 h 149"/>
                <a:gd name="T14" fmla="*/ 60 w 123"/>
                <a:gd name="T15" fmla="*/ 67 h 149"/>
                <a:gd name="T16" fmla="*/ 62 w 123"/>
                <a:gd name="T17" fmla="*/ 72 h 149"/>
                <a:gd name="T18" fmla="*/ 62 w 123"/>
                <a:gd name="T19" fmla="*/ 72 h 149"/>
                <a:gd name="T20" fmla="*/ 65 w 123"/>
                <a:gd name="T21" fmla="*/ 62 h 149"/>
                <a:gd name="T22" fmla="*/ 96 w 123"/>
                <a:gd name="T23" fmla="*/ 0 h 149"/>
                <a:gd name="T24" fmla="*/ 123 w 123"/>
                <a:gd name="T25" fmla="*/ 0 h 149"/>
                <a:gd name="T26" fmla="*/ 73 w 123"/>
                <a:gd name="T27" fmla="*/ 9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49">
                  <a:moveTo>
                    <a:pt x="73" y="95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9" y="64"/>
                    <a:pt x="60" y="66"/>
                    <a:pt x="60" y="67"/>
                  </a:cubicBezTo>
                  <a:cubicBezTo>
                    <a:pt x="61" y="69"/>
                    <a:pt x="61" y="70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68"/>
                    <a:pt x="64" y="65"/>
                    <a:pt x="65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73" y="95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9" name="Freeform 45"/>
            <p:cNvSpPr>
              <a:spLocks noEditPoints="1"/>
            </p:cNvSpPr>
            <p:nvPr userDrawn="1"/>
          </p:nvSpPr>
          <p:spPr bwMode="auto">
            <a:xfrm>
              <a:off x="3967163" y="2122488"/>
              <a:ext cx="177800" cy="180975"/>
            </a:xfrm>
            <a:custGeom>
              <a:avLst/>
              <a:gdLst>
                <a:gd name="T0" fmla="*/ 110 w 110"/>
                <a:gd name="T1" fmla="*/ 55 h 112"/>
                <a:gd name="T2" fmla="*/ 95 w 110"/>
                <a:gd name="T3" fmla="*/ 96 h 112"/>
                <a:gd name="T4" fmla="*/ 54 w 110"/>
                <a:gd name="T5" fmla="*/ 112 h 112"/>
                <a:gd name="T6" fmla="*/ 15 w 110"/>
                <a:gd name="T7" fmla="*/ 97 h 112"/>
                <a:gd name="T8" fmla="*/ 0 w 110"/>
                <a:gd name="T9" fmla="*/ 57 h 112"/>
                <a:gd name="T10" fmla="*/ 15 w 110"/>
                <a:gd name="T11" fmla="*/ 15 h 112"/>
                <a:gd name="T12" fmla="*/ 56 w 110"/>
                <a:gd name="T13" fmla="*/ 0 h 112"/>
                <a:gd name="T14" fmla="*/ 96 w 110"/>
                <a:gd name="T15" fmla="*/ 14 h 112"/>
                <a:gd name="T16" fmla="*/ 110 w 110"/>
                <a:gd name="T17" fmla="*/ 55 h 112"/>
                <a:gd name="T18" fmla="*/ 85 w 110"/>
                <a:gd name="T19" fmla="*/ 55 h 112"/>
                <a:gd name="T20" fmla="*/ 77 w 110"/>
                <a:gd name="T21" fmla="*/ 29 h 112"/>
                <a:gd name="T22" fmla="*/ 55 w 110"/>
                <a:gd name="T23" fmla="*/ 19 h 112"/>
                <a:gd name="T24" fmla="*/ 33 w 110"/>
                <a:gd name="T25" fmla="*/ 29 h 112"/>
                <a:gd name="T26" fmla="*/ 25 w 110"/>
                <a:gd name="T27" fmla="*/ 56 h 112"/>
                <a:gd name="T28" fmla="*/ 33 w 110"/>
                <a:gd name="T29" fmla="*/ 82 h 112"/>
                <a:gd name="T30" fmla="*/ 55 w 110"/>
                <a:gd name="T31" fmla="*/ 92 h 112"/>
                <a:gd name="T32" fmla="*/ 77 w 110"/>
                <a:gd name="T33" fmla="*/ 83 h 112"/>
                <a:gd name="T34" fmla="*/ 85 w 110"/>
                <a:gd name="T35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12">
                  <a:moveTo>
                    <a:pt x="110" y="55"/>
                  </a:moveTo>
                  <a:cubicBezTo>
                    <a:pt x="110" y="72"/>
                    <a:pt x="105" y="86"/>
                    <a:pt x="95" y="96"/>
                  </a:cubicBezTo>
                  <a:cubicBezTo>
                    <a:pt x="85" y="106"/>
                    <a:pt x="71" y="112"/>
                    <a:pt x="54" y="112"/>
                  </a:cubicBezTo>
                  <a:cubicBezTo>
                    <a:pt x="37" y="112"/>
                    <a:pt x="24" y="107"/>
                    <a:pt x="15" y="97"/>
                  </a:cubicBezTo>
                  <a:cubicBezTo>
                    <a:pt x="5" y="87"/>
                    <a:pt x="0" y="74"/>
                    <a:pt x="0" y="57"/>
                  </a:cubicBezTo>
                  <a:cubicBezTo>
                    <a:pt x="0" y="39"/>
                    <a:pt x="5" y="25"/>
                    <a:pt x="15" y="15"/>
                  </a:cubicBezTo>
                  <a:cubicBezTo>
                    <a:pt x="25" y="5"/>
                    <a:pt x="39" y="0"/>
                    <a:pt x="56" y="0"/>
                  </a:cubicBezTo>
                  <a:cubicBezTo>
                    <a:pt x="73" y="0"/>
                    <a:pt x="86" y="5"/>
                    <a:pt x="96" y="14"/>
                  </a:cubicBezTo>
                  <a:cubicBezTo>
                    <a:pt x="105" y="24"/>
                    <a:pt x="110" y="38"/>
                    <a:pt x="110" y="55"/>
                  </a:cubicBezTo>
                  <a:close/>
                  <a:moveTo>
                    <a:pt x="85" y="55"/>
                  </a:moveTo>
                  <a:cubicBezTo>
                    <a:pt x="85" y="44"/>
                    <a:pt x="82" y="35"/>
                    <a:pt x="77" y="29"/>
                  </a:cubicBezTo>
                  <a:cubicBezTo>
                    <a:pt x="71" y="22"/>
                    <a:pt x="64" y="19"/>
                    <a:pt x="55" y="19"/>
                  </a:cubicBezTo>
                  <a:cubicBezTo>
                    <a:pt x="46" y="19"/>
                    <a:pt x="38" y="23"/>
                    <a:pt x="33" y="29"/>
                  </a:cubicBezTo>
                  <a:cubicBezTo>
                    <a:pt x="28" y="35"/>
                    <a:pt x="25" y="44"/>
                    <a:pt x="25" y="56"/>
                  </a:cubicBezTo>
                  <a:cubicBezTo>
                    <a:pt x="25" y="67"/>
                    <a:pt x="28" y="76"/>
                    <a:pt x="33" y="82"/>
                  </a:cubicBezTo>
                  <a:cubicBezTo>
                    <a:pt x="38" y="89"/>
                    <a:pt x="46" y="92"/>
                    <a:pt x="55" y="92"/>
                  </a:cubicBezTo>
                  <a:cubicBezTo>
                    <a:pt x="65" y="92"/>
                    <a:pt x="72" y="89"/>
                    <a:pt x="77" y="83"/>
                  </a:cubicBezTo>
                  <a:cubicBezTo>
                    <a:pt x="82" y="76"/>
                    <a:pt x="85" y="67"/>
                    <a:pt x="85" y="55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0" name="Freeform 46"/>
            <p:cNvSpPr>
              <a:spLocks/>
            </p:cNvSpPr>
            <p:nvPr userDrawn="1"/>
          </p:nvSpPr>
          <p:spPr bwMode="auto">
            <a:xfrm>
              <a:off x="4181475" y="2125663"/>
              <a:ext cx="153988" cy="177800"/>
            </a:xfrm>
            <a:custGeom>
              <a:avLst/>
              <a:gdLst>
                <a:gd name="T0" fmla="*/ 71 w 95"/>
                <a:gd name="T1" fmla="*/ 107 h 110"/>
                <a:gd name="T2" fmla="*/ 71 w 95"/>
                <a:gd name="T3" fmla="*/ 91 h 110"/>
                <a:gd name="T4" fmla="*/ 70 w 95"/>
                <a:gd name="T5" fmla="*/ 91 h 110"/>
                <a:gd name="T6" fmla="*/ 57 w 95"/>
                <a:gd name="T7" fmla="*/ 105 h 110"/>
                <a:gd name="T8" fmla="*/ 38 w 95"/>
                <a:gd name="T9" fmla="*/ 110 h 110"/>
                <a:gd name="T10" fmla="*/ 10 w 95"/>
                <a:gd name="T11" fmla="*/ 98 h 110"/>
                <a:gd name="T12" fmla="*/ 0 w 95"/>
                <a:gd name="T13" fmla="*/ 65 h 110"/>
                <a:gd name="T14" fmla="*/ 0 w 95"/>
                <a:gd name="T15" fmla="*/ 0 h 110"/>
                <a:gd name="T16" fmla="*/ 24 w 95"/>
                <a:gd name="T17" fmla="*/ 0 h 110"/>
                <a:gd name="T18" fmla="*/ 24 w 95"/>
                <a:gd name="T19" fmla="*/ 62 h 110"/>
                <a:gd name="T20" fmla="*/ 46 w 95"/>
                <a:gd name="T21" fmla="*/ 90 h 110"/>
                <a:gd name="T22" fmla="*/ 64 w 95"/>
                <a:gd name="T23" fmla="*/ 82 h 110"/>
                <a:gd name="T24" fmla="*/ 71 w 95"/>
                <a:gd name="T25" fmla="*/ 62 h 110"/>
                <a:gd name="T26" fmla="*/ 71 w 95"/>
                <a:gd name="T27" fmla="*/ 0 h 110"/>
                <a:gd name="T28" fmla="*/ 95 w 95"/>
                <a:gd name="T29" fmla="*/ 0 h 110"/>
                <a:gd name="T30" fmla="*/ 95 w 95"/>
                <a:gd name="T31" fmla="*/ 107 h 110"/>
                <a:gd name="T32" fmla="*/ 71 w 95"/>
                <a:gd name="T33" fmla="*/ 10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10">
                  <a:moveTo>
                    <a:pt x="71" y="107"/>
                  </a:moveTo>
                  <a:cubicBezTo>
                    <a:pt x="71" y="91"/>
                    <a:pt x="71" y="91"/>
                    <a:pt x="71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7" y="97"/>
                    <a:pt x="62" y="101"/>
                    <a:pt x="57" y="105"/>
                  </a:cubicBezTo>
                  <a:cubicBezTo>
                    <a:pt x="51" y="108"/>
                    <a:pt x="45" y="110"/>
                    <a:pt x="38" y="110"/>
                  </a:cubicBezTo>
                  <a:cubicBezTo>
                    <a:pt x="26" y="110"/>
                    <a:pt x="16" y="106"/>
                    <a:pt x="10" y="98"/>
                  </a:cubicBezTo>
                  <a:cubicBezTo>
                    <a:pt x="3" y="91"/>
                    <a:pt x="0" y="80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81"/>
                    <a:pt x="32" y="90"/>
                    <a:pt x="46" y="90"/>
                  </a:cubicBezTo>
                  <a:cubicBezTo>
                    <a:pt x="54" y="90"/>
                    <a:pt x="59" y="87"/>
                    <a:pt x="64" y="82"/>
                  </a:cubicBezTo>
                  <a:cubicBezTo>
                    <a:pt x="68" y="77"/>
                    <a:pt x="71" y="70"/>
                    <a:pt x="71" y="6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107"/>
                    <a:pt x="95" y="107"/>
                    <a:pt x="95" y="107"/>
                  </a:cubicBezTo>
                  <a:lnTo>
                    <a:pt x="71" y="107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1" name="Freeform 47"/>
            <p:cNvSpPr>
              <a:spLocks/>
            </p:cNvSpPr>
            <p:nvPr userDrawn="1"/>
          </p:nvSpPr>
          <p:spPr bwMode="auto">
            <a:xfrm>
              <a:off x="4379913" y="2122488"/>
              <a:ext cx="100013" cy="176213"/>
            </a:xfrm>
            <a:custGeom>
              <a:avLst/>
              <a:gdLst>
                <a:gd name="T0" fmla="*/ 62 w 62"/>
                <a:gd name="T1" fmla="*/ 26 h 109"/>
                <a:gd name="T2" fmla="*/ 55 w 62"/>
                <a:gd name="T3" fmla="*/ 23 h 109"/>
                <a:gd name="T4" fmla="*/ 48 w 62"/>
                <a:gd name="T5" fmla="*/ 22 h 109"/>
                <a:gd name="T6" fmla="*/ 31 w 62"/>
                <a:gd name="T7" fmla="*/ 31 h 109"/>
                <a:gd name="T8" fmla="*/ 24 w 62"/>
                <a:gd name="T9" fmla="*/ 54 h 109"/>
                <a:gd name="T10" fmla="*/ 24 w 62"/>
                <a:gd name="T11" fmla="*/ 109 h 109"/>
                <a:gd name="T12" fmla="*/ 0 w 62"/>
                <a:gd name="T13" fmla="*/ 109 h 109"/>
                <a:gd name="T14" fmla="*/ 0 w 62"/>
                <a:gd name="T15" fmla="*/ 2 h 109"/>
                <a:gd name="T16" fmla="*/ 24 w 62"/>
                <a:gd name="T17" fmla="*/ 2 h 109"/>
                <a:gd name="T18" fmla="*/ 24 w 62"/>
                <a:gd name="T19" fmla="*/ 23 h 109"/>
                <a:gd name="T20" fmla="*/ 25 w 62"/>
                <a:gd name="T21" fmla="*/ 23 h 109"/>
                <a:gd name="T22" fmla="*/ 35 w 62"/>
                <a:gd name="T23" fmla="*/ 6 h 109"/>
                <a:gd name="T24" fmla="*/ 52 w 62"/>
                <a:gd name="T25" fmla="*/ 0 h 109"/>
                <a:gd name="T26" fmla="*/ 62 w 62"/>
                <a:gd name="T27" fmla="*/ 2 h 109"/>
                <a:gd name="T28" fmla="*/ 62 w 62"/>
                <a:gd name="T29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09">
                  <a:moveTo>
                    <a:pt x="62" y="26"/>
                  </a:moveTo>
                  <a:cubicBezTo>
                    <a:pt x="60" y="25"/>
                    <a:pt x="58" y="24"/>
                    <a:pt x="55" y="23"/>
                  </a:cubicBezTo>
                  <a:cubicBezTo>
                    <a:pt x="53" y="22"/>
                    <a:pt x="50" y="22"/>
                    <a:pt x="48" y="22"/>
                  </a:cubicBezTo>
                  <a:cubicBezTo>
                    <a:pt x="41" y="22"/>
                    <a:pt x="35" y="25"/>
                    <a:pt x="31" y="31"/>
                  </a:cubicBezTo>
                  <a:cubicBezTo>
                    <a:pt x="26" y="37"/>
                    <a:pt x="24" y="45"/>
                    <a:pt x="24" y="54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7" y="16"/>
                    <a:pt x="31" y="10"/>
                    <a:pt x="35" y="6"/>
                  </a:cubicBezTo>
                  <a:cubicBezTo>
                    <a:pt x="40" y="2"/>
                    <a:pt x="46" y="0"/>
                    <a:pt x="52" y="0"/>
                  </a:cubicBezTo>
                  <a:cubicBezTo>
                    <a:pt x="56" y="0"/>
                    <a:pt x="59" y="1"/>
                    <a:pt x="62" y="2"/>
                  </a:cubicBezTo>
                  <a:lnTo>
                    <a:pt x="62" y="26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1404553" y="2845307"/>
            <a:ext cx="3219971" cy="336207"/>
            <a:chOff x="1500188" y="2508251"/>
            <a:chExt cx="3284538" cy="342900"/>
          </a:xfrm>
        </p:grpSpPr>
        <p:sp>
          <p:nvSpPr>
            <p:cNvPr id="52" name="Freeform 48"/>
            <p:cNvSpPr>
              <a:spLocks noEditPoints="1"/>
            </p:cNvSpPr>
            <p:nvPr userDrawn="1"/>
          </p:nvSpPr>
          <p:spPr bwMode="auto">
            <a:xfrm>
              <a:off x="1500188" y="2527301"/>
              <a:ext cx="268288" cy="317500"/>
            </a:xfrm>
            <a:custGeom>
              <a:avLst/>
              <a:gdLst>
                <a:gd name="T0" fmla="*/ 166 w 166"/>
                <a:gd name="T1" fmla="*/ 96 h 196"/>
                <a:gd name="T2" fmla="*/ 153 w 166"/>
                <a:gd name="T3" fmla="*/ 149 h 196"/>
                <a:gd name="T4" fmla="*/ 115 w 166"/>
                <a:gd name="T5" fmla="*/ 184 h 196"/>
                <a:gd name="T6" fmla="*/ 59 w 166"/>
                <a:gd name="T7" fmla="*/ 196 h 196"/>
                <a:gd name="T8" fmla="*/ 0 w 166"/>
                <a:gd name="T9" fmla="*/ 196 h 196"/>
                <a:gd name="T10" fmla="*/ 0 w 166"/>
                <a:gd name="T11" fmla="*/ 0 h 196"/>
                <a:gd name="T12" fmla="*/ 61 w 166"/>
                <a:gd name="T13" fmla="*/ 0 h 196"/>
                <a:gd name="T14" fmla="*/ 140 w 166"/>
                <a:gd name="T15" fmla="*/ 24 h 196"/>
                <a:gd name="T16" fmla="*/ 166 w 166"/>
                <a:gd name="T17" fmla="*/ 96 h 196"/>
                <a:gd name="T18" fmla="*/ 131 w 166"/>
                <a:gd name="T19" fmla="*/ 96 h 196"/>
                <a:gd name="T20" fmla="*/ 113 w 166"/>
                <a:gd name="T21" fmla="*/ 45 h 196"/>
                <a:gd name="T22" fmla="*/ 59 w 166"/>
                <a:gd name="T23" fmla="*/ 28 h 196"/>
                <a:gd name="T24" fmla="*/ 32 w 166"/>
                <a:gd name="T25" fmla="*/ 28 h 196"/>
                <a:gd name="T26" fmla="*/ 32 w 166"/>
                <a:gd name="T27" fmla="*/ 168 h 196"/>
                <a:gd name="T28" fmla="*/ 59 w 166"/>
                <a:gd name="T29" fmla="*/ 168 h 196"/>
                <a:gd name="T30" fmla="*/ 112 w 166"/>
                <a:gd name="T31" fmla="*/ 149 h 196"/>
                <a:gd name="T32" fmla="*/ 131 w 166"/>
                <a:gd name="T33" fmla="*/ 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96">
                  <a:moveTo>
                    <a:pt x="166" y="96"/>
                  </a:moveTo>
                  <a:cubicBezTo>
                    <a:pt x="166" y="116"/>
                    <a:pt x="162" y="133"/>
                    <a:pt x="153" y="149"/>
                  </a:cubicBezTo>
                  <a:cubicBezTo>
                    <a:pt x="144" y="164"/>
                    <a:pt x="132" y="176"/>
                    <a:pt x="115" y="184"/>
                  </a:cubicBezTo>
                  <a:cubicBezTo>
                    <a:pt x="99" y="192"/>
                    <a:pt x="80" y="196"/>
                    <a:pt x="59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6" y="0"/>
                    <a:pt x="122" y="8"/>
                    <a:pt x="140" y="24"/>
                  </a:cubicBezTo>
                  <a:cubicBezTo>
                    <a:pt x="157" y="40"/>
                    <a:pt x="166" y="64"/>
                    <a:pt x="166" y="96"/>
                  </a:cubicBezTo>
                  <a:close/>
                  <a:moveTo>
                    <a:pt x="131" y="96"/>
                  </a:moveTo>
                  <a:cubicBezTo>
                    <a:pt x="131" y="74"/>
                    <a:pt x="125" y="57"/>
                    <a:pt x="113" y="45"/>
                  </a:cubicBezTo>
                  <a:cubicBezTo>
                    <a:pt x="100" y="34"/>
                    <a:pt x="82" y="28"/>
                    <a:pt x="59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8"/>
                    <a:pt x="32" y="168"/>
                    <a:pt x="32" y="16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82" y="168"/>
                    <a:pt x="100" y="162"/>
                    <a:pt x="112" y="149"/>
                  </a:cubicBezTo>
                  <a:cubicBezTo>
                    <a:pt x="125" y="136"/>
                    <a:pt x="131" y="119"/>
                    <a:pt x="131" y="96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3" name="Freeform 49"/>
            <p:cNvSpPr>
              <a:spLocks noEditPoints="1"/>
            </p:cNvSpPr>
            <p:nvPr userDrawn="1"/>
          </p:nvSpPr>
          <p:spPr bwMode="auto">
            <a:xfrm>
              <a:off x="1801813" y="2611438"/>
              <a:ext cx="192088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5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2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5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2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6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4" name="Freeform 50"/>
            <p:cNvSpPr>
              <a:spLocks/>
            </p:cNvSpPr>
            <p:nvPr userDrawn="1"/>
          </p:nvSpPr>
          <p:spPr bwMode="auto">
            <a:xfrm>
              <a:off x="2019300" y="2549526"/>
              <a:ext cx="144463" cy="301625"/>
            </a:xfrm>
            <a:custGeom>
              <a:avLst/>
              <a:gdLst>
                <a:gd name="T0" fmla="*/ 89 w 89"/>
                <a:gd name="T1" fmla="*/ 181 h 186"/>
                <a:gd name="T2" fmla="*/ 79 w 89"/>
                <a:gd name="T3" fmla="*/ 184 h 186"/>
                <a:gd name="T4" fmla="*/ 64 w 89"/>
                <a:gd name="T5" fmla="*/ 186 h 186"/>
                <a:gd name="T6" fmla="*/ 23 w 89"/>
                <a:gd name="T7" fmla="*/ 141 h 186"/>
                <a:gd name="T8" fmla="*/ 23 w 89"/>
                <a:gd name="T9" fmla="*/ 67 h 186"/>
                <a:gd name="T10" fmla="*/ 0 w 89"/>
                <a:gd name="T11" fmla="*/ 67 h 186"/>
                <a:gd name="T12" fmla="*/ 0 w 89"/>
                <a:gd name="T13" fmla="*/ 42 h 186"/>
                <a:gd name="T14" fmla="*/ 23 w 89"/>
                <a:gd name="T15" fmla="*/ 42 h 186"/>
                <a:gd name="T16" fmla="*/ 23 w 89"/>
                <a:gd name="T17" fmla="*/ 9 h 186"/>
                <a:gd name="T18" fmla="*/ 55 w 89"/>
                <a:gd name="T19" fmla="*/ 0 h 186"/>
                <a:gd name="T20" fmla="*/ 55 w 89"/>
                <a:gd name="T21" fmla="*/ 42 h 186"/>
                <a:gd name="T22" fmla="*/ 89 w 89"/>
                <a:gd name="T23" fmla="*/ 42 h 186"/>
                <a:gd name="T24" fmla="*/ 89 w 89"/>
                <a:gd name="T25" fmla="*/ 67 h 186"/>
                <a:gd name="T26" fmla="*/ 55 w 89"/>
                <a:gd name="T27" fmla="*/ 67 h 186"/>
                <a:gd name="T28" fmla="*/ 55 w 89"/>
                <a:gd name="T29" fmla="*/ 135 h 186"/>
                <a:gd name="T30" fmla="*/ 60 w 89"/>
                <a:gd name="T31" fmla="*/ 154 h 186"/>
                <a:gd name="T32" fmla="*/ 75 w 89"/>
                <a:gd name="T33" fmla="*/ 160 h 186"/>
                <a:gd name="T34" fmla="*/ 82 w 89"/>
                <a:gd name="T35" fmla="*/ 159 h 186"/>
                <a:gd name="T36" fmla="*/ 89 w 89"/>
                <a:gd name="T37" fmla="*/ 156 h 186"/>
                <a:gd name="T38" fmla="*/ 89 w 89"/>
                <a:gd name="T39" fmla="*/ 18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186">
                  <a:moveTo>
                    <a:pt x="89" y="181"/>
                  </a:moveTo>
                  <a:cubicBezTo>
                    <a:pt x="87" y="182"/>
                    <a:pt x="83" y="183"/>
                    <a:pt x="79" y="184"/>
                  </a:cubicBezTo>
                  <a:cubicBezTo>
                    <a:pt x="74" y="185"/>
                    <a:pt x="69" y="186"/>
                    <a:pt x="64" y="186"/>
                  </a:cubicBezTo>
                  <a:cubicBezTo>
                    <a:pt x="37" y="186"/>
                    <a:pt x="23" y="171"/>
                    <a:pt x="23" y="141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5" y="144"/>
                    <a:pt x="56" y="151"/>
                    <a:pt x="60" y="154"/>
                  </a:cubicBezTo>
                  <a:cubicBezTo>
                    <a:pt x="63" y="158"/>
                    <a:pt x="68" y="160"/>
                    <a:pt x="75" y="160"/>
                  </a:cubicBezTo>
                  <a:cubicBezTo>
                    <a:pt x="77" y="160"/>
                    <a:pt x="79" y="160"/>
                    <a:pt x="82" y="159"/>
                  </a:cubicBezTo>
                  <a:cubicBezTo>
                    <a:pt x="85" y="158"/>
                    <a:pt x="87" y="157"/>
                    <a:pt x="89" y="156"/>
                  </a:cubicBezTo>
                  <a:lnTo>
                    <a:pt x="89" y="181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5" name="Freeform 51"/>
            <p:cNvSpPr>
              <a:spLocks noEditPoints="1"/>
            </p:cNvSpPr>
            <p:nvPr userDrawn="1"/>
          </p:nvSpPr>
          <p:spPr bwMode="auto">
            <a:xfrm>
              <a:off x="2190750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6" name="Freeform 52"/>
            <p:cNvSpPr>
              <a:spLocks/>
            </p:cNvSpPr>
            <p:nvPr userDrawn="1"/>
          </p:nvSpPr>
          <p:spPr bwMode="auto">
            <a:xfrm>
              <a:off x="2514600" y="2527301"/>
              <a:ext cx="436563" cy="317500"/>
            </a:xfrm>
            <a:custGeom>
              <a:avLst/>
              <a:gdLst>
                <a:gd name="T0" fmla="*/ 215 w 269"/>
                <a:gd name="T1" fmla="*/ 196 h 196"/>
                <a:gd name="T2" fmla="*/ 176 w 269"/>
                <a:gd name="T3" fmla="*/ 196 h 196"/>
                <a:gd name="T4" fmla="*/ 139 w 269"/>
                <a:gd name="T5" fmla="*/ 59 h 196"/>
                <a:gd name="T6" fmla="*/ 136 w 269"/>
                <a:gd name="T7" fmla="*/ 38 h 196"/>
                <a:gd name="T8" fmla="*/ 135 w 269"/>
                <a:gd name="T9" fmla="*/ 38 h 196"/>
                <a:gd name="T10" fmla="*/ 134 w 269"/>
                <a:gd name="T11" fmla="*/ 50 h 196"/>
                <a:gd name="T12" fmla="*/ 132 w 269"/>
                <a:gd name="T13" fmla="*/ 59 h 196"/>
                <a:gd name="T14" fmla="*/ 95 w 269"/>
                <a:gd name="T15" fmla="*/ 196 h 196"/>
                <a:gd name="T16" fmla="*/ 56 w 269"/>
                <a:gd name="T17" fmla="*/ 196 h 196"/>
                <a:gd name="T18" fmla="*/ 0 w 269"/>
                <a:gd name="T19" fmla="*/ 0 h 196"/>
                <a:gd name="T20" fmla="*/ 36 w 269"/>
                <a:gd name="T21" fmla="*/ 0 h 196"/>
                <a:gd name="T22" fmla="*/ 73 w 269"/>
                <a:gd name="T23" fmla="*/ 142 h 196"/>
                <a:gd name="T24" fmla="*/ 76 w 269"/>
                <a:gd name="T25" fmla="*/ 164 h 196"/>
                <a:gd name="T26" fmla="*/ 76 w 269"/>
                <a:gd name="T27" fmla="*/ 164 h 196"/>
                <a:gd name="T28" fmla="*/ 80 w 269"/>
                <a:gd name="T29" fmla="*/ 142 h 196"/>
                <a:gd name="T30" fmla="*/ 120 w 269"/>
                <a:gd name="T31" fmla="*/ 0 h 196"/>
                <a:gd name="T32" fmla="*/ 155 w 269"/>
                <a:gd name="T33" fmla="*/ 0 h 196"/>
                <a:gd name="T34" fmla="*/ 192 w 269"/>
                <a:gd name="T35" fmla="*/ 144 h 196"/>
                <a:gd name="T36" fmla="*/ 195 w 269"/>
                <a:gd name="T37" fmla="*/ 163 h 196"/>
                <a:gd name="T38" fmla="*/ 196 w 269"/>
                <a:gd name="T39" fmla="*/ 163 h 196"/>
                <a:gd name="T40" fmla="*/ 199 w 269"/>
                <a:gd name="T41" fmla="*/ 143 h 196"/>
                <a:gd name="T42" fmla="*/ 234 w 269"/>
                <a:gd name="T43" fmla="*/ 0 h 196"/>
                <a:gd name="T44" fmla="*/ 269 w 269"/>
                <a:gd name="T45" fmla="*/ 0 h 196"/>
                <a:gd name="T46" fmla="*/ 215 w 269"/>
                <a:gd name="T4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196">
                  <a:moveTo>
                    <a:pt x="215" y="196"/>
                  </a:moveTo>
                  <a:cubicBezTo>
                    <a:pt x="176" y="196"/>
                    <a:pt x="176" y="196"/>
                    <a:pt x="176" y="196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37" y="53"/>
                    <a:pt x="136" y="46"/>
                    <a:pt x="136" y="38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35" y="42"/>
                    <a:pt x="134" y="45"/>
                    <a:pt x="134" y="50"/>
                  </a:cubicBezTo>
                  <a:cubicBezTo>
                    <a:pt x="133" y="55"/>
                    <a:pt x="132" y="58"/>
                    <a:pt x="132" y="59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4" y="146"/>
                    <a:pt x="75" y="153"/>
                    <a:pt x="76" y="164"/>
                  </a:cubicBezTo>
                  <a:cubicBezTo>
                    <a:pt x="76" y="164"/>
                    <a:pt x="76" y="164"/>
                    <a:pt x="76" y="164"/>
                  </a:cubicBezTo>
                  <a:cubicBezTo>
                    <a:pt x="77" y="158"/>
                    <a:pt x="78" y="151"/>
                    <a:pt x="80" y="142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94" y="148"/>
                    <a:pt x="195" y="155"/>
                    <a:pt x="195" y="163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196" y="157"/>
                    <a:pt x="197" y="150"/>
                    <a:pt x="199" y="143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69" y="0"/>
                    <a:pt x="269" y="0"/>
                    <a:pt x="269" y="0"/>
                  </a:cubicBezTo>
                  <a:lnTo>
                    <a:pt x="215" y="196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7" name="Freeform 53"/>
            <p:cNvSpPr>
              <a:spLocks noEditPoints="1"/>
            </p:cNvSpPr>
            <p:nvPr userDrawn="1"/>
          </p:nvSpPr>
          <p:spPr bwMode="auto">
            <a:xfrm>
              <a:off x="2955925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3 w 118"/>
                <a:gd name="T23" fmla="*/ 41 h 148"/>
                <a:gd name="T24" fmla="*/ 13 w 118"/>
                <a:gd name="T25" fmla="*/ 13 h 148"/>
                <a:gd name="T26" fmla="*/ 36 w 118"/>
                <a:gd name="T27" fmla="*/ 4 h 148"/>
                <a:gd name="T28" fmla="*/ 63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6 w 118"/>
                <a:gd name="T51" fmla="*/ 80 h 148"/>
                <a:gd name="T52" fmla="*/ 36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3" y="41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3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7" y="123"/>
                    <a:pt x="54" y="123"/>
                  </a:cubicBezTo>
                  <a:cubicBezTo>
                    <a:pt x="64" y="123"/>
                    <a:pt x="71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47" y="81"/>
                    <a:pt x="40" y="84"/>
                    <a:pt x="36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8" name="Freeform 54"/>
            <p:cNvSpPr>
              <a:spLocks/>
            </p:cNvSpPr>
            <p:nvPr userDrawn="1"/>
          </p:nvSpPr>
          <p:spPr bwMode="auto">
            <a:xfrm>
              <a:off x="3205163" y="2613026"/>
              <a:ext cx="130175" cy="231775"/>
            </a:xfrm>
            <a:custGeom>
              <a:avLst/>
              <a:gdLst>
                <a:gd name="T0" fmla="*/ 81 w 81"/>
                <a:gd name="T1" fmla="*/ 34 h 143"/>
                <a:gd name="T2" fmla="*/ 73 w 81"/>
                <a:gd name="T3" fmla="*/ 30 h 143"/>
                <a:gd name="T4" fmla="*/ 63 w 81"/>
                <a:gd name="T5" fmla="*/ 29 h 143"/>
                <a:gd name="T6" fmla="*/ 40 w 81"/>
                <a:gd name="T7" fmla="*/ 41 h 143"/>
                <a:gd name="T8" fmla="*/ 32 w 81"/>
                <a:gd name="T9" fmla="*/ 72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3 h 143"/>
                <a:gd name="T16" fmla="*/ 32 w 81"/>
                <a:gd name="T17" fmla="*/ 3 h 143"/>
                <a:gd name="T18" fmla="*/ 32 w 81"/>
                <a:gd name="T19" fmla="*/ 30 h 143"/>
                <a:gd name="T20" fmla="*/ 32 w 81"/>
                <a:gd name="T21" fmla="*/ 30 h 143"/>
                <a:gd name="T22" fmla="*/ 47 w 81"/>
                <a:gd name="T23" fmla="*/ 8 h 143"/>
                <a:gd name="T24" fmla="*/ 68 w 81"/>
                <a:gd name="T25" fmla="*/ 0 h 143"/>
                <a:gd name="T26" fmla="*/ 81 w 81"/>
                <a:gd name="T27" fmla="*/ 2 h 143"/>
                <a:gd name="T28" fmla="*/ 81 w 81"/>
                <a:gd name="T29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4"/>
                  </a:moveTo>
                  <a:cubicBezTo>
                    <a:pt x="79" y="33"/>
                    <a:pt x="77" y="31"/>
                    <a:pt x="73" y="30"/>
                  </a:cubicBezTo>
                  <a:cubicBezTo>
                    <a:pt x="69" y="29"/>
                    <a:pt x="66" y="29"/>
                    <a:pt x="63" y="29"/>
                  </a:cubicBezTo>
                  <a:cubicBezTo>
                    <a:pt x="53" y="29"/>
                    <a:pt x="46" y="33"/>
                    <a:pt x="40" y="41"/>
                  </a:cubicBezTo>
                  <a:cubicBezTo>
                    <a:pt x="35" y="49"/>
                    <a:pt x="32" y="59"/>
                    <a:pt x="32" y="72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5" y="21"/>
                    <a:pt x="40" y="13"/>
                    <a:pt x="47" y="8"/>
                  </a:cubicBezTo>
                  <a:cubicBezTo>
                    <a:pt x="53" y="3"/>
                    <a:pt x="60" y="0"/>
                    <a:pt x="68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4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9" name="Freeform 55"/>
            <p:cNvSpPr>
              <a:spLocks noEditPoints="1"/>
            </p:cNvSpPr>
            <p:nvPr userDrawn="1"/>
          </p:nvSpPr>
          <p:spPr bwMode="auto">
            <a:xfrm>
              <a:off x="3348038" y="2611438"/>
              <a:ext cx="207963" cy="239713"/>
            </a:xfrm>
            <a:custGeom>
              <a:avLst/>
              <a:gdLst>
                <a:gd name="T0" fmla="*/ 32 w 128"/>
                <a:gd name="T1" fmla="*/ 83 h 148"/>
                <a:gd name="T2" fmla="*/ 44 w 128"/>
                <a:gd name="T3" fmla="*/ 113 h 148"/>
                <a:gd name="T4" fmla="*/ 75 w 128"/>
                <a:gd name="T5" fmla="*/ 123 h 148"/>
                <a:gd name="T6" fmla="*/ 97 w 128"/>
                <a:gd name="T7" fmla="*/ 119 h 148"/>
                <a:gd name="T8" fmla="*/ 117 w 128"/>
                <a:gd name="T9" fmla="*/ 109 h 148"/>
                <a:gd name="T10" fmla="*/ 117 w 128"/>
                <a:gd name="T11" fmla="*/ 136 h 148"/>
                <a:gd name="T12" fmla="*/ 95 w 128"/>
                <a:gd name="T13" fmla="*/ 145 h 148"/>
                <a:gd name="T14" fmla="*/ 67 w 128"/>
                <a:gd name="T15" fmla="*/ 148 h 148"/>
                <a:gd name="T16" fmla="*/ 17 w 128"/>
                <a:gd name="T17" fmla="*/ 129 h 148"/>
                <a:gd name="T18" fmla="*/ 0 w 128"/>
                <a:gd name="T19" fmla="*/ 76 h 148"/>
                <a:gd name="T20" fmla="*/ 8 w 128"/>
                <a:gd name="T21" fmla="*/ 36 h 148"/>
                <a:gd name="T22" fmla="*/ 33 w 128"/>
                <a:gd name="T23" fmla="*/ 10 h 148"/>
                <a:gd name="T24" fmla="*/ 67 w 128"/>
                <a:gd name="T25" fmla="*/ 0 h 148"/>
                <a:gd name="T26" fmla="*/ 112 w 128"/>
                <a:gd name="T27" fmla="*/ 18 h 148"/>
                <a:gd name="T28" fmla="*/ 128 w 128"/>
                <a:gd name="T29" fmla="*/ 68 h 148"/>
                <a:gd name="T30" fmla="*/ 128 w 128"/>
                <a:gd name="T31" fmla="*/ 83 h 148"/>
                <a:gd name="T32" fmla="*/ 32 w 128"/>
                <a:gd name="T33" fmla="*/ 83 h 148"/>
                <a:gd name="T34" fmla="*/ 96 w 128"/>
                <a:gd name="T35" fmla="*/ 60 h 148"/>
                <a:gd name="T36" fmla="*/ 89 w 128"/>
                <a:gd name="T37" fmla="*/ 34 h 148"/>
                <a:gd name="T38" fmla="*/ 67 w 128"/>
                <a:gd name="T39" fmla="*/ 25 h 148"/>
                <a:gd name="T40" fmla="*/ 44 w 128"/>
                <a:gd name="T41" fmla="*/ 35 h 148"/>
                <a:gd name="T42" fmla="*/ 32 w 128"/>
                <a:gd name="T43" fmla="*/ 60 h 148"/>
                <a:gd name="T44" fmla="*/ 96 w 128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8">
                  <a:moveTo>
                    <a:pt x="32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1" y="119"/>
                    <a:pt x="61" y="123"/>
                    <a:pt x="75" y="123"/>
                  </a:cubicBezTo>
                  <a:cubicBezTo>
                    <a:pt x="82" y="123"/>
                    <a:pt x="90" y="122"/>
                    <a:pt x="97" y="119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1" y="140"/>
                    <a:pt x="104" y="142"/>
                    <a:pt x="95" y="145"/>
                  </a:cubicBezTo>
                  <a:cubicBezTo>
                    <a:pt x="86" y="147"/>
                    <a:pt x="77" y="148"/>
                    <a:pt x="67" y="148"/>
                  </a:cubicBezTo>
                  <a:cubicBezTo>
                    <a:pt x="45" y="148"/>
                    <a:pt x="29" y="142"/>
                    <a:pt x="17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8" y="36"/>
                  </a:cubicBezTo>
                  <a:cubicBezTo>
                    <a:pt x="14" y="25"/>
                    <a:pt x="22" y="16"/>
                    <a:pt x="33" y="10"/>
                  </a:cubicBezTo>
                  <a:cubicBezTo>
                    <a:pt x="43" y="4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7"/>
                    <a:pt x="128" y="68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6" y="60"/>
                  </a:moveTo>
                  <a:cubicBezTo>
                    <a:pt x="96" y="48"/>
                    <a:pt x="94" y="40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0" y="28"/>
                    <a:pt x="44" y="35"/>
                  </a:cubicBezTo>
                  <a:cubicBezTo>
                    <a:pt x="38" y="41"/>
                    <a:pt x="34" y="49"/>
                    <a:pt x="32" y="60"/>
                  </a:cubicBezTo>
                  <a:lnTo>
                    <a:pt x="96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auto">
            <a:xfrm>
              <a:off x="3605213" y="2508251"/>
              <a:ext cx="201613" cy="336550"/>
            </a:xfrm>
            <a:custGeom>
              <a:avLst/>
              <a:gdLst>
                <a:gd name="T0" fmla="*/ 93 w 125"/>
                <a:gd name="T1" fmla="*/ 208 h 208"/>
                <a:gd name="T2" fmla="*/ 93 w 125"/>
                <a:gd name="T3" fmla="*/ 129 h 208"/>
                <a:gd name="T4" fmla="*/ 86 w 125"/>
                <a:gd name="T5" fmla="*/ 100 h 208"/>
                <a:gd name="T6" fmla="*/ 65 w 125"/>
                <a:gd name="T7" fmla="*/ 90 h 208"/>
                <a:gd name="T8" fmla="*/ 41 w 125"/>
                <a:gd name="T9" fmla="*/ 101 h 208"/>
                <a:gd name="T10" fmla="*/ 32 w 125"/>
                <a:gd name="T11" fmla="*/ 128 h 208"/>
                <a:gd name="T12" fmla="*/ 32 w 125"/>
                <a:gd name="T13" fmla="*/ 208 h 208"/>
                <a:gd name="T14" fmla="*/ 0 w 125"/>
                <a:gd name="T15" fmla="*/ 208 h 208"/>
                <a:gd name="T16" fmla="*/ 0 w 125"/>
                <a:gd name="T17" fmla="*/ 0 h 208"/>
                <a:gd name="T18" fmla="*/ 32 w 125"/>
                <a:gd name="T19" fmla="*/ 0 h 208"/>
                <a:gd name="T20" fmla="*/ 32 w 125"/>
                <a:gd name="T21" fmla="*/ 90 h 208"/>
                <a:gd name="T22" fmla="*/ 33 w 125"/>
                <a:gd name="T23" fmla="*/ 90 h 208"/>
                <a:gd name="T24" fmla="*/ 77 w 125"/>
                <a:gd name="T25" fmla="*/ 64 h 208"/>
                <a:gd name="T26" fmla="*/ 113 w 125"/>
                <a:gd name="T27" fmla="*/ 79 h 208"/>
                <a:gd name="T28" fmla="*/ 125 w 125"/>
                <a:gd name="T29" fmla="*/ 122 h 208"/>
                <a:gd name="T30" fmla="*/ 125 w 125"/>
                <a:gd name="T31" fmla="*/ 208 h 208"/>
                <a:gd name="T32" fmla="*/ 93 w 125"/>
                <a:gd name="T3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208">
                  <a:moveTo>
                    <a:pt x="93" y="208"/>
                  </a:moveTo>
                  <a:cubicBezTo>
                    <a:pt x="93" y="129"/>
                    <a:pt x="93" y="129"/>
                    <a:pt x="93" y="129"/>
                  </a:cubicBezTo>
                  <a:cubicBezTo>
                    <a:pt x="93" y="116"/>
                    <a:pt x="91" y="107"/>
                    <a:pt x="86" y="100"/>
                  </a:cubicBezTo>
                  <a:cubicBezTo>
                    <a:pt x="82" y="94"/>
                    <a:pt x="75" y="90"/>
                    <a:pt x="65" y="90"/>
                  </a:cubicBezTo>
                  <a:cubicBezTo>
                    <a:pt x="56" y="90"/>
                    <a:pt x="48" y="94"/>
                    <a:pt x="41" y="101"/>
                  </a:cubicBezTo>
                  <a:cubicBezTo>
                    <a:pt x="35" y="108"/>
                    <a:pt x="32" y="117"/>
                    <a:pt x="32" y="12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43" y="73"/>
                    <a:pt x="58" y="64"/>
                    <a:pt x="77" y="64"/>
                  </a:cubicBezTo>
                  <a:cubicBezTo>
                    <a:pt x="93" y="64"/>
                    <a:pt x="105" y="69"/>
                    <a:pt x="113" y="79"/>
                  </a:cubicBezTo>
                  <a:cubicBezTo>
                    <a:pt x="121" y="89"/>
                    <a:pt x="125" y="103"/>
                    <a:pt x="125" y="122"/>
                  </a:cubicBezTo>
                  <a:cubicBezTo>
                    <a:pt x="125" y="208"/>
                    <a:pt x="125" y="208"/>
                    <a:pt x="125" y="208"/>
                  </a:cubicBezTo>
                  <a:lnTo>
                    <a:pt x="93" y="20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auto">
            <a:xfrm>
              <a:off x="3854450" y="2611438"/>
              <a:ext cx="234950" cy="239713"/>
            </a:xfrm>
            <a:custGeom>
              <a:avLst/>
              <a:gdLst>
                <a:gd name="T0" fmla="*/ 145 w 145"/>
                <a:gd name="T1" fmla="*/ 73 h 148"/>
                <a:gd name="T2" fmla="*/ 125 w 145"/>
                <a:gd name="T3" fmla="*/ 127 h 148"/>
                <a:gd name="T4" fmla="*/ 71 w 145"/>
                <a:gd name="T5" fmla="*/ 148 h 148"/>
                <a:gd name="T6" fmla="*/ 19 w 145"/>
                <a:gd name="T7" fmla="*/ 128 h 148"/>
                <a:gd name="T8" fmla="*/ 0 w 145"/>
                <a:gd name="T9" fmla="*/ 76 h 148"/>
                <a:gd name="T10" fmla="*/ 20 w 145"/>
                <a:gd name="T11" fmla="*/ 21 h 148"/>
                <a:gd name="T12" fmla="*/ 75 w 145"/>
                <a:gd name="T13" fmla="*/ 0 h 148"/>
                <a:gd name="T14" fmla="*/ 126 w 145"/>
                <a:gd name="T15" fmla="*/ 20 h 148"/>
                <a:gd name="T16" fmla="*/ 145 w 145"/>
                <a:gd name="T17" fmla="*/ 73 h 148"/>
                <a:gd name="T18" fmla="*/ 112 w 145"/>
                <a:gd name="T19" fmla="*/ 74 h 148"/>
                <a:gd name="T20" fmla="*/ 101 w 145"/>
                <a:gd name="T21" fmla="*/ 38 h 148"/>
                <a:gd name="T22" fmla="*/ 73 w 145"/>
                <a:gd name="T23" fmla="*/ 26 h 148"/>
                <a:gd name="T24" fmla="*/ 44 w 145"/>
                <a:gd name="T25" fmla="*/ 39 h 148"/>
                <a:gd name="T26" fmla="*/ 33 w 145"/>
                <a:gd name="T27" fmla="*/ 75 h 148"/>
                <a:gd name="T28" fmla="*/ 44 w 145"/>
                <a:gd name="T29" fmla="*/ 110 h 148"/>
                <a:gd name="T30" fmla="*/ 73 w 145"/>
                <a:gd name="T31" fmla="*/ 122 h 148"/>
                <a:gd name="T32" fmla="*/ 102 w 145"/>
                <a:gd name="T33" fmla="*/ 110 h 148"/>
                <a:gd name="T34" fmla="*/ 112 w 145"/>
                <a:gd name="T35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8">
                  <a:moveTo>
                    <a:pt x="145" y="73"/>
                  </a:moveTo>
                  <a:cubicBezTo>
                    <a:pt x="145" y="96"/>
                    <a:pt x="138" y="114"/>
                    <a:pt x="125" y="127"/>
                  </a:cubicBezTo>
                  <a:cubicBezTo>
                    <a:pt x="112" y="141"/>
                    <a:pt x="94" y="148"/>
                    <a:pt x="71" y="148"/>
                  </a:cubicBezTo>
                  <a:cubicBezTo>
                    <a:pt x="50" y="148"/>
                    <a:pt x="32" y="141"/>
                    <a:pt x="19" y="128"/>
                  </a:cubicBezTo>
                  <a:cubicBezTo>
                    <a:pt x="7" y="116"/>
                    <a:pt x="0" y="98"/>
                    <a:pt x="0" y="76"/>
                  </a:cubicBezTo>
                  <a:cubicBezTo>
                    <a:pt x="0" y="52"/>
                    <a:pt x="7" y="34"/>
                    <a:pt x="20" y="21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7"/>
                    <a:pt x="126" y="20"/>
                  </a:cubicBezTo>
                  <a:cubicBezTo>
                    <a:pt x="139" y="33"/>
                    <a:pt x="145" y="50"/>
                    <a:pt x="145" y="73"/>
                  </a:cubicBezTo>
                  <a:close/>
                  <a:moveTo>
                    <a:pt x="112" y="74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1"/>
                    <a:pt x="44" y="39"/>
                  </a:cubicBezTo>
                  <a:cubicBezTo>
                    <a:pt x="37" y="47"/>
                    <a:pt x="33" y="59"/>
                    <a:pt x="33" y="75"/>
                  </a:cubicBezTo>
                  <a:cubicBezTo>
                    <a:pt x="33" y="90"/>
                    <a:pt x="37" y="101"/>
                    <a:pt x="44" y="110"/>
                  </a:cubicBezTo>
                  <a:cubicBezTo>
                    <a:pt x="51" y="118"/>
                    <a:pt x="61" y="122"/>
                    <a:pt x="73" y="122"/>
                  </a:cubicBezTo>
                  <a:cubicBezTo>
                    <a:pt x="86" y="122"/>
                    <a:pt x="95" y="118"/>
                    <a:pt x="102" y="110"/>
                  </a:cubicBezTo>
                  <a:cubicBezTo>
                    <a:pt x="108" y="102"/>
                    <a:pt x="112" y="90"/>
                    <a:pt x="112" y="7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auto">
            <a:xfrm>
              <a:off x="4135438" y="2617788"/>
              <a:ext cx="203200" cy="233363"/>
            </a:xfrm>
            <a:custGeom>
              <a:avLst/>
              <a:gdLst>
                <a:gd name="T0" fmla="*/ 93 w 125"/>
                <a:gd name="T1" fmla="*/ 140 h 144"/>
                <a:gd name="T2" fmla="*/ 93 w 125"/>
                <a:gd name="T3" fmla="*/ 119 h 144"/>
                <a:gd name="T4" fmla="*/ 93 w 125"/>
                <a:gd name="T5" fmla="*/ 119 h 144"/>
                <a:gd name="T6" fmla="*/ 75 w 125"/>
                <a:gd name="T7" fmla="*/ 137 h 144"/>
                <a:gd name="T8" fmla="*/ 50 w 125"/>
                <a:gd name="T9" fmla="*/ 144 h 144"/>
                <a:gd name="T10" fmla="*/ 13 w 125"/>
                <a:gd name="T11" fmla="*/ 129 h 144"/>
                <a:gd name="T12" fmla="*/ 0 w 125"/>
                <a:gd name="T13" fmla="*/ 85 h 144"/>
                <a:gd name="T14" fmla="*/ 0 w 125"/>
                <a:gd name="T15" fmla="*/ 0 h 144"/>
                <a:gd name="T16" fmla="*/ 32 w 125"/>
                <a:gd name="T17" fmla="*/ 0 h 144"/>
                <a:gd name="T18" fmla="*/ 32 w 125"/>
                <a:gd name="T19" fmla="*/ 81 h 144"/>
                <a:gd name="T20" fmla="*/ 61 w 125"/>
                <a:gd name="T21" fmla="*/ 118 h 144"/>
                <a:gd name="T22" fmla="*/ 85 w 125"/>
                <a:gd name="T23" fmla="*/ 108 h 144"/>
                <a:gd name="T24" fmla="*/ 93 w 125"/>
                <a:gd name="T25" fmla="*/ 81 h 144"/>
                <a:gd name="T26" fmla="*/ 93 w 125"/>
                <a:gd name="T27" fmla="*/ 0 h 144"/>
                <a:gd name="T28" fmla="*/ 125 w 125"/>
                <a:gd name="T29" fmla="*/ 0 h 144"/>
                <a:gd name="T30" fmla="*/ 125 w 125"/>
                <a:gd name="T31" fmla="*/ 140 h 144"/>
                <a:gd name="T32" fmla="*/ 93 w 125"/>
                <a:gd name="T33" fmla="*/ 14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0"/>
                  </a:move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88" y="127"/>
                    <a:pt x="83" y="133"/>
                    <a:pt x="75" y="137"/>
                  </a:cubicBezTo>
                  <a:cubicBezTo>
                    <a:pt x="68" y="142"/>
                    <a:pt x="60" y="144"/>
                    <a:pt x="50" y="144"/>
                  </a:cubicBezTo>
                  <a:cubicBezTo>
                    <a:pt x="34" y="144"/>
                    <a:pt x="21" y="139"/>
                    <a:pt x="13" y="129"/>
                  </a:cubicBezTo>
                  <a:cubicBezTo>
                    <a:pt x="4" y="119"/>
                    <a:pt x="0" y="105"/>
                    <a:pt x="0" y="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106"/>
                    <a:pt x="42" y="118"/>
                    <a:pt x="61" y="118"/>
                  </a:cubicBezTo>
                  <a:cubicBezTo>
                    <a:pt x="71" y="118"/>
                    <a:pt x="79" y="115"/>
                    <a:pt x="85" y="108"/>
                  </a:cubicBezTo>
                  <a:cubicBezTo>
                    <a:pt x="90" y="101"/>
                    <a:pt x="93" y="92"/>
                    <a:pt x="93" y="8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0"/>
                    <a:pt x="125" y="140"/>
                    <a:pt x="125" y="140"/>
                  </a:cubicBezTo>
                  <a:lnTo>
                    <a:pt x="93" y="14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59"/>
            <p:cNvSpPr>
              <a:spLocks/>
            </p:cNvSpPr>
            <p:nvPr userDrawn="1"/>
          </p:nvSpPr>
          <p:spPr bwMode="auto">
            <a:xfrm>
              <a:off x="4392613" y="2611438"/>
              <a:ext cx="150813" cy="239713"/>
            </a:xfrm>
            <a:custGeom>
              <a:avLst/>
              <a:gdLst>
                <a:gd name="T0" fmla="*/ 93 w 93"/>
                <a:gd name="T1" fmla="*/ 104 h 148"/>
                <a:gd name="T2" fmla="*/ 78 w 93"/>
                <a:gd name="T3" fmla="*/ 136 h 148"/>
                <a:gd name="T4" fmla="*/ 37 w 93"/>
                <a:gd name="T5" fmla="*/ 148 h 148"/>
                <a:gd name="T6" fmla="*/ 18 w 93"/>
                <a:gd name="T7" fmla="*/ 146 h 148"/>
                <a:gd name="T8" fmla="*/ 0 w 93"/>
                <a:gd name="T9" fmla="*/ 140 h 148"/>
                <a:gd name="T10" fmla="*/ 0 w 93"/>
                <a:gd name="T11" fmla="*/ 110 h 148"/>
                <a:gd name="T12" fmla="*/ 19 w 93"/>
                <a:gd name="T13" fmla="*/ 120 h 148"/>
                <a:gd name="T14" fmla="*/ 38 w 93"/>
                <a:gd name="T15" fmla="*/ 123 h 148"/>
                <a:gd name="T16" fmla="*/ 61 w 93"/>
                <a:gd name="T17" fmla="*/ 108 h 148"/>
                <a:gd name="T18" fmla="*/ 59 w 93"/>
                <a:gd name="T19" fmla="*/ 99 h 148"/>
                <a:gd name="T20" fmla="*/ 51 w 93"/>
                <a:gd name="T21" fmla="*/ 93 h 148"/>
                <a:gd name="T22" fmla="*/ 34 w 93"/>
                <a:gd name="T23" fmla="*/ 85 h 148"/>
                <a:gd name="T24" fmla="*/ 13 w 93"/>
                <a:gd name="T25" fmla="*/ 73 h 148"/>
                <a:gd name="T26" fmla="*/ 3 w 93"/>
                <a:gd name="T27" fmla="*/ 61 h 148"/>
                <a:gd name="T28" fmla="*/ 0 w 93"/>
                <a:gd name="T29" fmla="*/ 43 h 148"/>
                <a:gd name="T30" fmla="*/ 15 w 93"/>
                <a:gd name="T31" fmla="*/ 12 h 148"/>
                <a:gd name="T32" fmla="*/ 54 w 93"/>
                <a:gd name="T33" fmla="*/ 0 h 148"/>
                <a:gd name="T34" fmla="*/ 70 w 93"/>
                <a:gd name="T35" fmla="*/ 2 h 148"/>
                <a:gd name="T36" fmla="*/ 85 w 93"/>
                <a:gd name="T37" fmla="*/ 6 h 148"/>
                <a:gd name="T38" fmla="*/ 85 w 93"/>
                <a:gd name="T39" fmla="*/ 35 h 148"/>
                <a:gd name="T40" fmla="*/ 70 w 93"/>
                <a:gd name="T41" fmla="*/ 28 h 148"/>
                <a:gd name="T42" fmla="*/ 53 w 93"/>
                <a:gd name="T43" fmla="*/ 25 h 148"/>
                <a:gd name="T44" fmla="*/ 38 w 93"/>
                <a:gd name="T45" fmla="*/ 30 h 148"/>
                <a:gd name="T46" fmla="*/ 32 w 93"/>
                <a:gd name="T47" fmla="*/ 40 h 148"/>
                <a:gd name="T48" fmla="*/ 37 w 93"/>
                <a:gd name="T49" fmla="*/ 52 h 148"/>
                <a:gd name="T50" fmla="*/ 57 w 93"/>
                <a:gd name="T51" fmla="*/ 63 h 148"/>
                <a:gd name="T52" fmla="*/ 85 w 93"/>
                <a:gd name="T53" fmla="*/ 80 h 148"/>
                <a:gd name="T54" fmla="*/ 93 w 93"/>
                <a:gd name="T55" fmla="*/ 10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48">
                  <a:moveTo>
                    <a:pt x="93" y="104"/>
                  </a:moveTo>
                  <a:cubicBezTo>
                    <a:pt x="93" y="117"/>
                    <a:pt x="88" y="128"/>
                    <a:pt x="78" y="136"/>
                  </a:cubicBezTo>
                  <a:cubicBezTo>
                    <a:pt x="68" y="144"/>
                    <a:pt x="54" y="148"/>
                    <a:pt x="37" y="148"/>
                  </a:cubicBezTo>
                  <a:cubicBezTo>
                    <a:pt x="31" y="148"/>
                    <a:pt x="25" y="147"/>
                    <a:pt x="18" y="146"/>
                  </a:cubicBezTo>
                  <a:cubicBezTo>
                    <a:pt x="11" y="144"/>
                    <a:pt x="5" y="142"/>
                    <a:pt x="0" y="14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6" y="114"/>
                    <a:pt x="12" y="117"/>
                    <a:pt x="19" y="120"/>
                  </a:cubicBezTo>
                  <a:cubicBezTo>
                    <a:pt x="26" y="122"/>
                    <a:pt x="33" y="123"/>
                    <a:pt x="38" y="123"/>
                  </a:cubicBezTo>
                  <a:cubicBezTo>
                    <a:pt x="53" y="123"/>
                    <a:pt x="61" y="118"/>
                    <a:pt x="61" y="108"/>
                  </a:cubicBezTo>
                  <a:cubicBezTo>
                    <a:pt x="61" y="104"/>
                    <a:pt x="60" y="102"/>
                    <a:pt x="59" y="99"/>
                  </a:cubicBezTo>
                  <a:cubicBezTo>
                    <a:pt x="57" y="97"/>
                    <a:pt x="55" y="95"/>
                    <a:pt x="51" y="93"/>
                  </a:cubicBezTo>
                  <a:cubicBezTo>
                    <a:pt x="47" y="91"/>
                    <a:pt x="41" y="88"/>
                    <a:pt x="34" y="85"/>
                  </a:cubicBezTo>
                  <a:cubicBezTo>
                    <a:pt x="24" y="81"/>
                    <a:pt x="18" y="77"/>
                    <a:pt x="13" y="73"/>
                  </a:cubicBezTo>
                  <a:cubicBezTo>
                    <a:pt x="9" y="70"/>
                    <a:pt x="5" y="65"/>
                    <a:pt x="3" y="61"/>
                  </a:cubicBezTo>
                  <a:cubicBezTo>
                    <a:pt x="1" y="56"/>
                    <a:pt x="0" y="50"/>
                    <a:pt x="0" y="43"/>
                  </a:cubicBezTo>
                  <a:cubicBezTo>
                    <a:pt x="0" y="31"/>
                    <a:pt x="5" y="20"/>
                    <a:pt x="15" y="12"/>
                  </a:cubicBezTo>
                  <a:cubicBezTo>
                    <a:pt x="25" y="4"/>
                    <a:pt x="38" y="0"/>
                    <a:pt x="54" y="0"/>
                  </a:cubicBezTo>
                  <a:cubicBezTo>
                    <a:pt x="59" y="0"/>
                    <a:pt x="64" y="1"/>
                    <a:pt x="70" y="2"/>
                  </a:cubicBezTo>
                  <a:cubicBezTo>
                    <a:pt x="77" y="3"/>
                    <a:pt x="82" y="5"/>
                    <a:pt x="85" y="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1" y="32"/>
                    <a:pt x="76" y="30"/>
                    <a:pt x="70" y="28"/>
                  </a:cubicBezTo>
                  <a:cubicBezTo>
                    <a:pt x="64" y="26"/>
                    <a:pt x="58" y="25"/>
                    <a:pt x="53" y="25"/>
                  </a:cubicBezTo>
                  <a:cubicBezTo>
                    <a:pt x="46" y="25"/>
                    <a:pt x="41" y="27"/>
                    <a:pt x="38" y="30"/>
                  </a:cubicBezTo>
                  <a:cubicBezTo>
                    <a:pt x="34" y="32"/>
                    <a:pt x="32" y="36"/>
                    <a:pt x="32" y="40"/>
                  </a:cubicBezTo>
                  <a:cubicBezTo>
                    <a:pt x="32" y="45"/>
                    <a:pt x="34" y="49"/>
                    <a:pt x="37" y="52"/>
                  </a:cubicBezTo>
                  <a:cubicBezTo>
                    <a:pt x="39" y="55"/>
                    <a:pt x="46" y="58"/>
                    <a:pt x="57" y="63"/>
                  </a:cubicBezTo>
                  <a:cubicBezTo>
                    <a:pt x="70" y="68"/>
                    <a:pt x="79" y="74"/>
                    <a:pt x="85" y="80"/>
                  </a:cubicBezTo>
                  <a:cubicBezTo>
                    <a:pt x="90" y="87"/>
                    <a:pt x="93" y="95"/>
                    <a:pt x="93" y="10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Freeform 60"/>
            <p:cNvSpPr>
              <a:spLocks noEditPoints="1"/>
            </p:cNvSpPr>
            <p:nvPr userDrawn="1"/>
          </p:nvSpPr>
          <p:spPr bwMode="auto">
            <a:xfrm>
              <a:off x="4576763" y="2611438"/>
              <a:ext cx="207963" cy="239713"/>
            </a:xfrm>
            <a:custGeom>
              <a:avLst/>
              <a:gdLst>
                <a:gd name="T0" fmla="*/ 33 w 129"/>
                <a:gd name="T1" fmla="*/ 83 h 148"/>
                <a:gd name="T2" fmla="*/ 44 w 129"/>
                <a:gd name="T3" fmla="*/ 113 h 148"/>
                <a:gd name="T4" fmla="*/ 75 w 129"/>
                <a:gd name="T5" fmla="*/ 123 h 148"/>
                <a:gd name="T6" fmla="*/ 98 w 129"/>
                <a:gd name="T7" fmla="*/ 119 h 148"/>
                <a:gd name="T8" fmla="*/ 117 w 129"/>
                <a:gd name="T9" fmla="*/ 109 h 148"/>
                <a:gd name="T10" fmla="*/ 117 w 129"/>
                <a:gd name="T11" fmla="*/ 136 h 148"/>
                <a:gd name="T12" fmla="*/ 96 w 129"/>
                <a:gd name="T13" fmla="*/ 145 h 148"/>
                <a:gd name="T14" fmla="*/ 67 w 129"/>
                <a:gd name="T15" fmla="*/ 148 h 148"/>
                <a:gd name="T16" fmla="*/ 18 w 129"/>
                <a:gd name="T17" fmla="*/ 129 h 148"/>
                <a:gd name="T18" fmla="*/ 0 w 129"/>
                <a:gd name="T19" fmla="*/ 76 h 148"/>
                <a:gd name="T20" fmla="*/ 9 w 129"/>
                <a:gd name="T21" fmla="*/ 36 h 148"/>
                <a:gd name="T22" fmla="*/ 33 w 129"/>
                <a:gd name="T23" fmla="*/ 10 h 148"/>
                <a:gd name="T24" fmla="*/ 67 w 129"/>
                <a:gd name="T25" fmla="*/ 0 h 148"/>
                <a:gd name="T26" fmla="*/ 112 w 129"/>
                <a:gd name="T27" fmla="*/ 18 h 148"/>
                <a:gd name="T28" fmla="*/ 129 w 129"/>
                <a:gd name="T29" fmla="*/ 68 h 148"/>
                <a:gd name="T30" fmla="*/ 129 w 129"/>
                <a:gd name="T31" fmla="*/ 83 h 148"/>
                <a:gd name="T32" fmla="*/ 33 w 129"/>
                <a:gd name="T33" fmla="*/ 83 h 148"/>
                <a:gd name="T34" fmla="*/ 97 w 129"/>
                <a:gd name="T35" fmla="*/ 60 h 148"/>
                <a:gd name="T36" fmla="*/ 89 w 129"/>
                <a:gd name="T37" fmla="*/ 34 h 148"/>
                <a:gd name="T38" fmla="*/ 67 w 129"/>
                <a:gd name="T39" fmla="*/ 25 h 148"/>
                <a:gd name="T40" fmla="*/ 45 w 129"/>
                <a:gd name="T41" fmla="*/ 35 h 148"/>
                <a:gd name="T42" fmla="*/ 33 w 129"/>
                <a:gd name="T43" fmla="*/ 60 h 148"/>
                <a:gd name="T44" fmla="*/ 97 w 129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148">
                  <a:moveTo>
                    <a:pt x="33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2" y="119"/>
                    <a:pt x="62" y="123"/>
                    <a:pt x="75" y="123"/>
                  </a:cubicBezTo>
                  <a:cubicBezTo>
                    <a:pt x="83" y="123"/>
                    <a:pt x="91" y="122"/>
                    <a:pt x="98" y="119"/>
                  </a:cubicBezTo>
                  <a:cubicBezTo>
                    <a:pt x="105" y="116"/>
                    <a:pt x="112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40"/>
                    <a:pt x="105" y="142"/>
                    <a:pt x="96" y="145"/>
                  </a:cubicBezTo>
                  <a:cubicBezTo>
                    <a:pt x="87" y="147"/>
                    <a:pt x="77" y="148"/>
                    <a:pt x="67" y="148"/>
                  </a:cubicBezTo>
                  <a:cubicBezTo>
                    <a:pt x="46" y="148"/>
                    <a:pt x="30" y="142"/>
                    <a:pt x="18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9" y="36"/>
                  </a:cubicBezTo>
                  <a:cubicBezTo>
                    <a:pt x="15" y="25"/>
                    <a:pt x="23" y="16"/>
                    <a:pt x="33" y="10"/>
                  </a:cubicBezTo>
                  <a:cubicBezTo>
                    <a:pt x="43" y="4"/>
                    <a:pt x="55" y="0"/>
                    <a:pt x="67" y="0"/>
                  </a:cubicBezTo>
                  <a:cubicBezTo>
                    <a:pt x="87" y="0"/>
                    <a:pt x="102" y="6"/>
                    <a:pt x="112" y="18"/>
                  </a:cubicBezTo>
                  <a:cubicBezTo>
                    <a:pt x="123" y="30"/>
                    <a:pt x="129" y="47"/>
                    <a:pt x="129" y="68"/>
                  </a:cubicBezTo>
                  <a:cubicBezTo>
                    <a:pt x="129" y="83"/>
                    <a:pt x="129" y="83"/>
                    <a:pt x="129" y="83"/>
                  </a:cubicBezTo>
                  <a:lnTo>
                    <a:pt x="33" y="83"/>
                  </a:lnTo>
                  <a:close/>
                  <a:moveTo>
                    <a:pt x="97" y="60"/>
                  </a:moveTo>
                  <a:cubicBezTo>
                    <a:pt x="97" y="48"/>
                    <a:pt x="94" y="40"/>
                    <a:pt x="89" y="34"/>
                  </a:cubicBezTo>
                  <a:cubicBezTo>
                    <a:pt x="84" y="28"/>
                    <a:pt x="77" y="25"/>
                    <a:pt x="67" y="25"/>
                  </a:cubicBezTo>
                  <a:cubicBezTo>
                    <a:pt x="59" y="25"/>
                    <a:pt x="51" y="28"/>
                    <a:pt x="45" y="35"/>
                  </a:cubicBezTo>
                  <a:cubicBezTo>
                    <a:pt x="38" y="41"/>
                    <a:pt x="34" y="49"/>
                    <a:pt x="33" y="60"/>
                  </a:cubicBezTo>
                  <a:lnTo>
                    <a:pt x="97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59" name="Group 158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90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1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4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5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6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7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9525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6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7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8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1" name="Group 80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63968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5928E-6 -1.32547E-6 L 0.06932 0.00023 " pathEditMode="relative" rAng="0" ptsTypes="AA">
                                      <p:cBhvr>
                                        <p:cTn id="17" dur="1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9599E-6 -8.17068E-7 L 0.06931 0.00023 " pathEditMode="relative" rAng="0" ptsTypes="AA">
                                      <p:cBhvr>
                                        <p:cTn id="19" dur="12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2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</p:bldLst>
  </p:timing>
  <p:extLst mod="1"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  <p15:guide id="5" orient="horz" pos="57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5826698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5826699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grpSp>
        <p:nvGrpSpPr>
          <p:cNvPr id="58" name="Group 57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59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5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6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67" name="Group 66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9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76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77" name="Group 76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78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9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0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1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2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3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4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5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6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7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8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9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19050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0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1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2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93" name="Group 92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94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5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6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7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8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1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219802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14" dur="12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24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animBg="1"/>
      <p:bldP spid="76" grpId="1" animBg="1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ANIMATED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1" name="TextBox 7"/>
          <p:cNvSpPr txBox="1"/>
          <p:nvPr userDrawn="1"/>
        </p:nvSpPr>
        <p:spPr bwMode="white">
          <a:xfrm>
            <a:off x="4392104" y="6566924"/>
            <a:ext cx="3407792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+mn-lt"/>
              </a:rPr>
              <a:t>MICROSOFT CONFIDENTIAL – INTERNAL ONLY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5724454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5733410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699116" y="122012"/>
            <a:ext cx="6122818" cy="7069081"/>
            <a:chOff x="5813395" y="124441"/>
            <a:chExt cx="6245593" cy="7209808"/>
          </a:xfrm>
        </p:grpSpPr>
        <p:pic>
          <p:nvPicPr>
            <p:cNvPr id="889" name="Picture 888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6647005" y="2354262"/>
              <a:ext cx="1489168" cy="693233"/>
            </a:xfrm>
            <a:prstGeom prst="rect">
              <a:avLst/>
            </a:prstGeom>
          </p:spPr>
        </p:pic>
        <p:pic>
          <p:nvPicPr>
            <p:cNvPr id="888" name="Picture 887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9191017" y="2724150"/>
              <a:ext cx="2867971" cy="1335090"/>
            </a:xfrm>
            <a:prstGeom prst="rect">
              <a:avLst/>
            </a:prstGeom>
          </p:spPr>
        </p:pic>
        <p:pic>
          <p:nvPicPr>
            <p:cNvPr id="883" name="Picture 88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33373" y="124441"/>
              <a:ext cx="3035177" cy="4104659"/>
            </a:xfrm>
            <a:prstGeom prst="rect">
              <a:avLst/>
            </a:prstGeom>
          </p:spPr>
        </p:pic>
        <p:pic>
          <p:nvPicPr>
            <p:cNvPr id="884" name="Picture 88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98644" y="1001712"/>
              <a:ext cx="3079149" cy="4083737"/>
            </a:xfrm>
            <a:prstGeom prst="rect">
              <a:avLst/>
            </a:prstGeom>
          </p:spPr>
        </p:pic>
        <p:pic>
          <p:nvPicPr>
            <p:cNvPr id="885" name="Picture 884"/>
            <p:cNvPicPr>
              <a:picLocks noChangeAspect="1"/>
            </p:cNvPicPr>
            <p:nvPr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5813395" y="2831443"/>
              <a:ext cx="3563938" cy="1659075"/>
            </a:xfrm>
            <a:prstGeom prst="rect">
              <a:avLst/>
            </a:prstGeom>
          </p:spPr>
        </p:pic>
        <p:pic>
          <p:nvPicPr>
            <p:cNvPr id="886" name="Picture 88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50974" y="3178032"/>
              <a:ext cx="3266895" cy="4156217"/>
            </a:xfrm>
            <a:prstGeom prst="rect">
              <a:avLst/>
            </a:prstGeom>
          </p:spPr>
        </p:pic>
        <p:pic>
          <p:nvPicPr>
            <p:cNvPr id="887" name="Picture 88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51355" y="4105275"/>
              <a:ext cx="1046428" cy="1449387"/>
            </a:xfrm>
            <a:prstGeom prst="rect">
              <a:avLst/>
            </a:prstGeom>
          </p:spPr>
        </p:pic>
        <p:pic>
          <p:nvPicPr>
            <p:cNvPr id="890" name="Picture 889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9424683" y="5810253"/>
              <a:ext cx="906259" cy="42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796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3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9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0" dur="9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9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37" dur="9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9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44" dur="9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1" grpId="2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  <p:bldP spid="13" grpId="2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2" grpId="2"/>
      <p:bldP spid="9" grpId="0"/>
      <p:bldP spid="9" grpId="1"/>
      <p:bldP spid="9" grpId="2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5" grpId="2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3" name="Group 82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84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5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6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7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8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9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0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1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92" name="Group 91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93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4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5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6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7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8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01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102" name="Group 101"/>
          <p:cNvGrpSpPr/>
          <p:nvPr userDrawn="1"/>
        </p:nvGrpSpPr>
        <p:grpSpPr>
          <a:xfrm>
            <a:off x="1004585" y="2308309"/>
            <a:ext cx="3321130" cy="437381"/>
            <a:chOff x="1092200" y="1960563"/>
            <a:chExt cx="3387726" cy="446088"/>
          </a:xfrm>
        </p:grpSpPr>
        <p:sp>
          <p:nvSpPr>
            <p:cNvPr id="103" name="Freeform 33"/>
            <p:cNvSpPr>
              <a:spLocks/>
            </p:cNvSpPr>
            <p:nvPr userDrawn="1"/>
          </p:nvSpPr>
          <p:spPr bwMode="auto">
            <a:xfrm>
              <a:off x="1092200" y="1981201"/>
              <a:ext cx="344488" cy="317500"/>
            </a:xfrm>
            <a:custGeom>
              <a:avLst/>
              <a:gdLst>
                <a:gd name="T0" fmla="*/ 181 w 213"/>
                <a:gd name="T1" fmla="*/ 197 h 197"/>
                <a:gd name="T2" fmla="*/ 181 w 213"/>
                <a:gd name="T3" fmla="*/ 72 h 197"/>
                <a:gd name="T4" fmla="*/ 182 w 213"/>
                <a:gd name="T5" fmla="*/ 29 h 197"/>
                <a:gd name="T6" fmla="*/ 182 w 213"/>
                <a:gd name="T7" fmla="*/ 29 h 197"/>
                <a:gd name="T8" fmla="*/ 176 w 213"/>
                <a:gd name="T9" fmla="*/ 51 h 197"/>
                <a:gd name="T10" fmla="*/ 117 w 213"/>
                <a:gd name="T11" fmla="*/ 197 h 197"/>
                <a:gd name="T12" fmla="*/ 95 w 213"/>
                <a:gd name="T13" fmla="*/ 197 h 197"/>
                <a:gd name="T14" fmla="*/ 35 w 213"/>
                <a:gd name="T15" fmla="*/ 53 h 197"/>
                <a:gd name="T16" fmla="*/ 30 w 213"/>
                <a:gd name="T17" fmla="*/ 29 h 197"/>
                <a:gd name="T18" fmla="*/ 29 w 213"/>
                <a:gd name="T19" fmla="*/ 29 h 197"/>
                <a:gd name="T20" fmla="*/ 30 w 213"/>
                <a:gd name="T21" fmla="*/ 49 h 197"/>
                <a:gd name="T22" fmla="*/ 30 w 213"/>
                <a:gd name="T23" fmla="*/ 76 h 197"/>
                <a:gd name="T24" fmla="*/ 30 w 213"/>
                <a:gd name="T25" fmla="*/ 197 h 197"/>
                <a:gd name="T26" fmla="*/ 0 w 213"/>
                <a:gd name="T27" fmla="*/ 197 h 197"/>
                <a:gd name="T28" fmla="*/ 0 w 213"/>
                <a:gd name="T29" fmla="*/ 0 h 197"/>
                <a:gd name="T30" fmla="*/ 47 w 213"/>
                <a:gd name="T31" fmla="*/ 0 h 197"/>
                <a:gd name="T32" fmla="*/ 97 w 213"/>
                <a:gd name="T33" fmla="*/ 124 h 197"/>
                <a:gd name="T34" fmla="*/ 106 w 213"/>
                <a:gd name="T35" fmla="*/ 152 h 197"/>
                <a:gd name="T36" fmla="*/ 106 w 213"/>
                <a:gd name="T37" fmla="*/ 152 h 197"/>
                <a:gd name="T38" fmla="*/ 117 w 213"/>
                <a:gd name="T39" fmla="*/ 124 h 197"/>
                <a:gd name="T40" fmla="*/ 168 w 213"/>
                <a:gd name="T41" fmla="*/ 0 h 197"/>
                <a:gd name="T42" fmla="*/ 213 w 213"/>
                <a:gd name="T43" fmla="*/ 0 h 197"/>
                <a:gd name="T44" fmla="*/ 213 w 213"/>
                <a:gd name="T45" fmla="*/ 197 h 197"/>
                <a:gd name="T46" fmla="*/ 181 w 213"/>
                <a:gd name="T4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97">
                  <a:moveTo>
                    <a:pt x="181" y="197"/>
                  </a:moveTo>
                  <a:cubicBezTo>
                    <a:pt x="181" y="72"/>
                    <a:pt x="181" y="72"/>
                    <a:pt x="181" y="72"/>
                  </a:cubicBezTo>
                  <a:cubicBezTo>
                    <a:pt x="181" y="62"/>
                    <a:pt x="181" y="48"/>
                    <a:pt x="182" y="29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0" y="39"/>
                    <a:pt x="178" y="47"/>
                    <a:pt x="176" y="51"/>
                  </a:cubicBezTo>
                  <a:cubicBezTo>
                    <a:pt x="117" y="197"/>
                    <a:pt x="117" y="197"/>
                    <a:pt x="117" y="197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48"/>
                    <a:pt x="32" y="40"/>
                    <a:pt x="30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32"/>
                    <a:pt x="29" y="38"/>
                    <a:pt x="30" y="49"/>
                  </a:cubicBezTo>
                  <a:cubicBezTo>
                    <a:pt x="30" y="59"/>
                    <a:pt x="30" y="68"/>
                    <a:pt x="30" y="76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101" y="136"/>
                    <a:pt x="104" y="146"/>
                    <a:pt x="106" y="152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7" y="124"/>
                    <a:pt x="117" y="124"/>
                    <a:pt x="117" y="124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197"/>
                    <a:pt x="213" y="197"/>
                    <a:pt x="213" y="197"/>
                  </a:cubicBezTo>
                  <a:lnTo>
                    <a:pt x="181" y="1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4" name="Freeform 34"/>
            <p:cNvSpPr>
              <a:spLocks noEditPoints="1"/>
            </p:cNvSpPr>
            <p:nvPr userDrawn="1"/>
          </p:nvSpPr>
          <p:spPr bwMode="auto">
            <a:xfrm>
              <a:off x="1495425" y="2066926"/>
              <a:ext cx="233363" cy="236538"/>
            </a:xfrm>
            <a:custGeom>
              <a:avLst/>
              <a:gdLst>
                <a:gd name="T0" fmla="*/ 145 w 145"/>
                <a:gd name="T1" fmla="*/ 72 h 147"/>
                <a:gd name="T2" fmla="*/ 125 w 145"/>
                <a:gd name="T3" fmla="*/ 127 h 147"/>
                <a:gd name="T4" fmla="*/ 71 w 145"/>
                <a:gd name="T5" fmla="*/ 147 h 147"/>
                <a:gd name="T6" fmla="*/ 19 w 145"/>
                <a:gd name="T7" fmla="*/ 128 h 147"/>
                <a:gd name="T8" fmla="*/ 0 w 145"/>
                <a:gd name="T9" fmla="*/ 75 h 147"/>
                <a:gd name="T10" fmla="*/ 20 w 145"/>
                <a:gd name="T11" fmla="*/ 20 h 147"/>
                <a:gd name="T12" fmla="*/ 75 w 145"/>
                <a:gd name="T13" fmla="*/ 0 h 147"/>
                <a:gd name="T14" fmla="*/ 126 w 145"/>
                <a:gd name="T15" fmla="*/ 19 h 147"/>
                <a:gd name="T16" fmla="*/ 145 w 145"/>
                <a:gd name="T17" fmla="*/ 72 h 147"/>
                <a:gd name="T18" fmla="*/ 112 w 145"/>
                <a:gd name="T19" fmla="*/ 73 h 147"/>
                <a:gd name="T20" fmla="*/ 101 w 145"/>
                <a:gd name="T21" fmla="*/ 38 h 147"/>
                <a:gd name="T22" fmla="*/ 73 w 145"/>
                <a:gd name="T23" fmla="*/ 26 h 147"/>
                <a:gd name="T24" fmla="*/ 44 w 145"/>
                <a:gd name="T25" fmla="*/ 39 h 147"/>
                <a:gd name="T26" fmla="*/ 33 w 145"/>
                <a:gd name="T27" fmla="*/ 74 h 147"/>
                <a:gd name="T28" fmla="*/ 44 w 145"/>
                <a:gd name="T29" fmla="*/ 109 h 147"/>
                <a:gd name="T30" fmla="*/ 73 w 145"/>
                <a:gd name="T31" fmla="*/ 121 h 147"/>
                <a:gd name="T32" fmla="*/ 102 w 145"/>
                <a:gd name="T33" fmla="*/ 109 h 147"/>
                <a:gd name="T34" fmla="*/ 112 w 145"/>
                <a:gd name="T35" fmla="*/ 7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7">
                  <a:moveTo>
                    <a:pt x="145" y="72"/>
                  </a:moveTo>
                  <a:cubicBezTo>
                    <a:pt x="145" y="95"/>
                    <a:pt x="138" y="113"/>
                    <a:pt x="125" y="127"/>
                  </a:cubicBezTo>
                  <a:cubicBezTo>
                    <a:pt x="112" y="141"/>
                    <a:pt x="94" y="147"/>
                    <a:pt x="71" y="147"/>
                  </a:cubicBezTo>
                  <a:cubicBezTo>
                    <a:pt x="50" y="147"/>
                    <a:pt x="32" y="141"/>
                    <a:pt x="19" y="128"/>
                  </a:cubicBezTo>
                  <a:cubicBezTo>
                    <a:pt x="7" y="115"/>
                    <a:pt x="0" y="97"/>
                    <a:pt x="0" y="75"/>
                  </a:cubicBezTo>
                  <a:cubicBezTo>
                    <a:pt x="0" y="52"/>
                    <a:pt x="7" y="34"/>
                    <a:pt x="20" y="20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6"/>
                    <a:pt x="126" y="19"/>
                  </a:cubicBezTo>
                  <a:cubicBezTo>
                    <a:pt x="139" y="32"/>
                    <a:pt x="145" y="50"/>
                    <a:pt x="145" y="72"/>
                  </a:cubicBezTo>
                  <a:close/>
                  <a:moveTo>
                    <a:pt x="112" y="73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0"/>
                    <a:pt x="44" y="39"/>
                  </a:cubicBezTo>
                  <a:cubicBezTo>
                    <a:pt x="37" y="47"/>
                    <a:pt x="33" y="59"/>
                    <a:pt x="33" y="74"/>
                  </a:cubicBezTo>
                  <a:cubicBezTo>
                    <a:pt x="33" y="89"/>
                    <a:pt x="37" y="101"/>
                    <a:pt x="44" y="109"/>
                  </a:cubicBezTo>
                  <a:cubicBezTo>
                    <a:pt x="51" y="117"/>
                    <a:pt x="61" y="121"/>
                    <a:pt x="73" y="121"/>
                  </a:cubicBezTo>
                  <a:cubicBezTo>
                    <a:pt x="86" y="121"/>
                    <a:pt x="95" y="117"/>
                    <a:pt x="102" y="109"/>
                  </a:cubicBezTo>
                  <a:cubicBezTo>
                    <a:pt x="108" y="101"/>
                    <a:pt x="112" y="89"/>
                    <a:pt x="112" y="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5" name="Freeform 35"/>
            <p:cNvSpPr>
              <a:spLocks noEditPoints="1"/>
            </p:cNvSpPr>
            <p:nvPr userDrawn="1"/>
          </p:nvSpPr>
          <p:spPr bwMode="auto">
            <a:xfrm>
              <a:off x="1765300" y="1962151"/>
              <a:ext cx="222250" cy="341313"/>
            </a:xfrm>
            <a:custGeom>
              <a:avLst/>
              <a:gdLst>
                <a:gd name="T0" fmla="*/ 105 w 137"/>
                <a:gd name="T1" fmla="*/ 208 h 211"/>
                <a:gd name="T2" fmla="*/ 105 w 137"/>
                <a:gd name="T3" fmla="*/ 186 h 211"/>
                <a:gd name="T4" fmla="*/ 105 w 137"/>
                <a:gd name="T5" fmla="*/ 186 h 211"/>
                <a:gd name="T6" fmla="*/ 58 w 137"/>
                <a:gd name="T7" fmla="*/ 211 h 211"/>
                <a:gd name="T8" fmla="*/ 16 w 137"/>
                <a:gd name="T9" fmla="*/ 192 h 211"/>
                <a:gd name="T10" fmla="*/ 0 w 137"/>
                <a:gd name="T11" fmla="*/ 141 h 211"/>
                <a:gd name="T12" fmla="*/ 18 w 137"/>
                <a:gd name="T13" fmla="*/ 85 h 211"/>
                <a:gd name="T14" fmla="*/ 65 w 137"/>
                <a:gd name="T15" fmla="*/ 64 h 211"/>
                <a:gd name="T16" fmla="*/ 88 w 137"/>
                <a:gd name="T17" fmla="*/ 69 h 211"/>
                <a:gd name="T18" fmla="*/ 105 w 137"/>
                <a:gd name="T19" fmla="*/ 85 h 211"/>
                <a:gd name="T20" fmla="*/ 105 w 137"/>
                <a:gd name="T21" fmla="*/ 85 h 211"/>
                <a:gd name="T22" fmla="*/ 105 w 137"/>
                <a:gd name="T23" fmla="*/ 0 h 211"/>
                <a:gd name="T24" fmla="*/ 137 w 137"/>
                <a:gd name="T25" fmla="*/ 0 h 211"/>
                <a:gd name="T26" fmla="*/ 137 w 137"/>
                <a:gd name="T27" fmla="*/ 208 h 211"/>
                <a:gd name="T28" fmla="*/ 105 w 137"/>
                <a:gd name="T29" fmla="*/ 208 h 211"/>
                <a:gd name="T30" fmla="*/ 105 w 137"/>
                <a:gd name="T31" fmla="*/ 126 h 211"/>
                <a:gd name="T32" fmla="*/ 95 w 137"/>
                <a:gd name="T33" fmla="*/ 100 h 211"/>
                <a:gd name="T34" fmla="*/ 71 w 137"/>
                <a:gd name="T35" fmla="*/ 90 h 211"/>
                <a:gd name="T36" fmla="*/ 43 w 137"/>
                <a:gd name="T37" fmla="*/ 103 h 211"/>
                <a:gd name="T38" fmla="*/ 33 w 137"/>
                <a:gd name="T39" fmla="*/ 140 h 211"/>
                <a:gd name="T40" fmla="*/ 43 w 137"/>
                <a:gd name="T41" fmla="*/ 173 h 211"/>
                <a:gd name="T42" fmla="*/ 69 w 137"/>
                <a:gd name="T43" fmla="*/ 185 h 211"/>
                <a:gd name="T44" fmla="*/ 95 w 137"/>
                <a:gd name="T45" fmla="*/ 173 h 211"/>
                <a:gd name="T46" fmla="*/ 105 w 137"/>
                <a:gd name="T47" fmla="*/ 142 h 211"/>
                <a:gd name="T48" fmla="*/ 105 w 137"/>
                <a:gd name="T49" fmla="*/ 12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211">
                  <a:moveTo>
                    <a:pt x="105" y="208"/>
                  </a:moveTo>
                  <a:cubicBezTo>
                    <a:pt x="105" y="186"/>
                    <a:pt x="105" y="186"/>
                    <a:pt x="105" y="186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95" y="203"/>
                    <a:pt x="79" y="211"/>
                    <a:pt x="58" y="211"/>
                  </a:cubicBezTo>
                  <a:cubicBezTo>
                    <a:pt x="41" y="211"/>
                    <a:pt x="27" y="205"/>
                    <a:pt x="16" y="192"/>
                  </a:cubicBezTo>
                  <a:cubicBezTo>
                    <a:pt x="5" y="180"/>
                    <a:pt x="0" y="163"/>
                    <a:pt x="0" y="141"/>
                  </a:cubicBezTo>
                  <a:cubicBezTo>
                    <a:pt x="0" y="118"/>
                    <a:pt x="6" y="99"/>
                    <a:pt x="18" y="85"/>
                  </a:cubicBezTo>
                  <a:cubicBezTo>
                    <a:pt x="29" y="71"/>
                    <a:pt x="45" y="64"/>
                    <a:pt x="65" y="64"/>
                  </a:cubicBezTo>
                  <a:cubicBezTo>
                    <a:pt x="74" y="64"/>
                    <a:pt x="81" y="66"/>
                    <a:pt x="88" y="69"/>
                  </a:cubicBezTo>
                  <a:cubicBezTo>
                    <a:pt x="95" y="73"/>
                    <a:pt x="101" y="78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208"/>
                    <a:pt x="137" y="208"/>
                    <a:pt x="137" y="208"/>
                  </a:cubicBezTo>
                  <a:lnTo>
                    <a:pt x="105" y="208"/>
                  </a:lnTo>
                  <a:close/>
                  <a:moveTo>
                    <a:pt x="105" y="126"/>
                  </a:moveTo>
                  <a:cubicBezTo>
                    <a:pt x="105" y="116"/>
                    <a:pt x="102" y="107"/>
                    <a:pt x="95" y="100"/>
                  </a:cubicBezTo>
                  <a:cubicBezTo>
                    <a:pt x="89" y="93"/>
                    <a:pt x="81" y="90"/>
                    <a:pt x="71" y="90"/>
                  </a:cubicBezTo>
                  <a:cubicBezTo>
                    <a:pt x="59" y="90"/>
                    <a:pt x="50" y="94"/>
                    <a:pt x="43" y="103"/>
                  </a:cubicBezTo>
                  <a:cubicBezTo>
                    <a:pt x="36" y="112"/>
                    <a:pt x="33" y="124"/>
                    <a:pt x="33" y="140"/>
                  </a:cubicBezTo>
                  <a:cubicBezTo>
                    <a:pt x="33" y="154"/>
                    <a:pt x="36" y="165"/>
                    <a:pt x="43" y="173"/>
                  </a:cubicBezTo>
                  <a:cubicBezTo>
                    <a:pt x="49" y="181"/>
                    <a:pt x="58" y="185"/>
                    <a:pt x="69" y="185"/>
                  </a:cubicBezTo>
                  <a:cubicBezTo>
                    <a:pt x="79" y="185"/>
                    <a:pt x="88" y="181"/>
                    <a:pt x="95" y="173"/>
                  </a:cubicBezTo>
                  <a:cubicBezTo>
                    <a:pt x="102" y="165"/>
                    <a:pt x="105" y="155"/>
                    <a:pt x="105" y="142"/>
                  </a:cubicBezTo>
                  <a:lnTo>
                    <a:pt x="10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6" name="Freeform 36"/>
            <p:cNvSpPr>
              <a:spLocks noEditPoints="1"/>
            </p:cNvSpPr>
            <p:nvPr userDrawn="1"/>
          </p:nvSpPr>
          <p:spPr bwMode="auto">
            <a:xfrm>
              <a:off x="2039938" y="2066926"/>
              <a:ext cx="207963" cy="236538"/>
            </a:xfrm>
            <a:custGeom>
              <a:avLst/>
              <a:gdLst>
                <a:gd name="T0" fmla="*/ 32 w 128"/>
                <a:gd name="T1" fmla="*/ 83 h 147"/>
                <a:gd name="T2" fmla="*/ 44 w 128"/>
                <a:gd name="T3" fmla="*/ 112 h 147"/>
                <a:gd name="T4" fmla="*/ 75 w 128"/>
                <a:gd name="T5" fmla="*/ 122 h 147"/>
                <a:gd name="T6" fmla="*/ 98 w 128"/>
                <a:gd name="T7" fmla="*/ 118 h 147"/>
                <a:gd name="T8" fmla="*/ 117 w 128"/>
                <a:gd name="T9" fmla="*/ 109 h 147"/>
                <a:gd name="T10" fmla="*/ 117 w 128"/>
                <a:gd name="T11" fmla="*/ 136 h 147"/>
                <a:gd name="T12" fmla="*/ 95 w 128"/>
                <a:gd name="T13" fmla="*/ 144 h 147"/>
                <a:gd name="T14" fmla="*/ 67 w 128"/>
                <a:gd name="T15" fmla="*/ 147 h 147"/>
                <a:gd name="T16" fmla="*/ 17 w 128"/>
                <a:gd name="T17" fmla="*/ 128 h 147"/>
                <a:gd name="T18" fmla="*/ 0 w 128"/>
                <a:gd name="T19" fmla="*/ 75 h 147"/>
                <a:gd name="T20" fmla="*/ 9 w 128"/>
                <a:gd name="T21" fmla="*/ 36 h 147"/>
                <a:gd name="T22" fmla="*/ 33 w 128"/>
                <a:gd name="T23" fmla="*/ 9 h 147"/>
                <a:gd name="T24" fmla="*/ 67 w 128"/>
                <a:gd name="T25" fmla="*/ 0 h 147"/>
                <a:gd name="T26" fmla="*/ 112 w 128"/>
                <a:gd name="T27" fmla="*/ 18 h 147"/>
                <a:gd name="T28" fmla="*/ 128 w 128"/>
                <a:gd name="T29" fmla="*/ 67 h 147"/>
                <a:gd name="T30" fmla="*/ 128 w 128"/>
                <a:gd name="T31" fmla="*/ 83 h 147"/>
                <a:gd name="T32" fmla="*/ 32 w 128"/>
                <a:gd name="T33" fmla="*/ 83 h 147"/>
                <a:gd name="T34" fmla="*/ 97 w 128"/>
                <a:gd name="T35" fmla="*/ 59 h 147"/>
                <a:gd name="T36" fmla="*/ 89 w 128"/>
                <a:gd name="T37" fmla="*/ 34 h 147"/>
                <a:gd name="T38" fmla="*/ 67 w 128"/>
                <a:gd name="T39" fmla="*/ 25 h 147"/>
                <a:gd name="T40" fmla="*/ 44 w 128"/>
                <a:gd name="T41" fmla="*/ 34 h 147"/>
                <a:gd name="T42" fmla="*/ 32 w 128"/>
                <a:gd name="T43" fmla="*/ 59 h 147"/>
                <a:gd name="T44" fmla="*/ 97 w 128"/>
                <a:gd name="T45" fmla="*/ 5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7">
                  <a:moveTo>
                    <a:pt x="32" y="83"/>
                  </a:moveTo>
                  <a:cubicBezTo>
                    <a:pt x="33" y="96"/>
                    <a:pt x="37" y="106"/>
                    <a:pt x="44" y="112"/>
                  </a:cubicBezTo>
                  <a:cubicBezTo>
                    <a:pt x="51" y="119"/>
                    <a:pt x="61" y="122"/>
                    <a:pt x="75" y="122"/>
                  </a:cubicBezTo>
                  <a:cubicBezTo>
                    <a:pt x="83" y="122"/>
                    <a:pt x="90" y="121"/>
                    <a:pt x="98" y="118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39"/>
                    <a:pt x="104" y="142"/>
                    <a:pt x="95" y="144"/>
                  </a:cubicBezTo>
                  <a:cubicBezTo>
                    <a:pt x="86" y="146"/>
                    <a:pt x="77" y="147"/>
                    <a:pt x="67" y="147"/>
                  </a:cubicBezTo>
                  <a:cubicBezTo>
                    <a:pt x="46" y="147"/>
                    <a:pt x="29" y="141"/>
                    <a:pt x="17" y="128"/>
                  </a:cubicBezTo>
                  <a:cubicBezTo>
                    <a:pt x="6" y="115"/>
                    <a:pt x="0" y="98"/>
                    <a:pt x="0" y="75"/>
                  </a:cubicBezTo>
                  <a:cubicBezTo>
                    <a:pt x="0" y="60"/>
                    <a:pt x="3" y="47"/>
                    <a:pt x="9" y="36"/>
                  </a:cubicBezTo>
                  <a:cubicBezTo>
                    <a:pt x="14" y="24"/>
                    <a:pt x="22" y="16"/>
                    <a:pt x="33" y="9"/>
                  </a:cubicBezTo>
                  <a:cubicBezTo>
                    <a:pt x="43" y="3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6"/>
                    <a:pt x="128" y="67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7" y="59"/>
                  </a:moveTo>
                  <a:cubicBezTo>
                    <a:pt x="97" y="48"/>
                    <a:pt x="94" y="39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1" y="28"/>
                    <a:pt x="44" y="34"/>
                  </a:cubicBezTo>
                  <a:cubicBezTo>
                    <a:pt x="38" y="41"/>
                    <a:pt x="34" y="49"/>
                    <a:pt x="32" y="59"/>
                  </a:cubicBezTo>
                  <a:lnTo>
                    <a:pt x="97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7" name="Freeform 37"/>
            <p:cNvSpPr>
              <a:spLocks/>
            </p:cNvSpPr>
            <p:nvPr userDrawn="1"/>
          </p:nvSpPr>
          <p:spPr bwMode="auto">
            <a:xfrm>
              <a:off x="2295525" y="2068513"/>
              <a:ext cx="131763" cy="230188"/>
            </a:xfrm>
            <a:custGeom>
              <a:avLst/>
              <a:gdLst>
                <a:gd name="T0" fmla="*/ 81 w 81"/>
                <a:gd name="T1" fmla="*/ 33 h 143"/>
                <a:gd name="T2" fmla="*/ 73 w 81"/>
                <a:gd name="T3" fmla="*/ 30 h 143"/>
                <a:gd name="T4" fmla="*/ 63 w 81"/>
                <a:gd name="T5" fmla="*/ 28 h 143"/>
                <a:gd name="T6" fmla="*/ 41 w 81"/>
                <a:gd name="T7" fmla="*/ 40 h 143"/>
                <a:gd name="T8" fmla="*/ 32 w 81"/>
                <a:gd name="T9" fmla="*/ 71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2 h 143"/>
                <a:gd name="T16" fmla="*/ 32 w 81"/>
                <a:gd name="T17" fmla="*/ 2 h 143"/>
                <a:gd name="T18" fmla="*/ 32 w 81"/>
                <a:gd name="T19" fmla="*/ 30 h 143"/>
                <a:gd name="T20" fmla="*/ 33 w 81"/>
                <a:gd name="T21" fmla="*/ 30 h 143"/>
                <a:gd name="T22" fmla="*/ 47 w 81"/>
                <a:gd name="T23" fmla="*/ 8 h 143"/>
                <a:gd name="T24" fmla="*/ 69 w 81"/>
                <a:gd name="T25" fmla="*/ 0 h 143"/>
                <a:gd name="T26" fmla="*/ 81 w 81"/>
                <a:gd name="T27" fmla="*/ 2 h 143"/>
                <a:gd name="T28" fmla="*/ 81 w 81"/>
                <a:gd name="T29" fmla="*/ 3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3"/>
                  </a:moveTo>
                  <a:cubicBezTo>
                    <a:pt x="80" y="32"/>
                    <a:pt x="77" y="31"/>
                    <a:pt x="73" y="30"/>
                  </a:cubicBezTo>
                  <a:cubicBezTo>
                    <a:pt x="70" y="29"/>
                    <a:pt x="66" y="28"/>
                    <a:pt x="63" y="28"/>
                  </a:cubicBezTo>
                  <a:cubicBezTo>
                    <a:pt x="54" y="28"/>
                    <a:pt x="46" y="32"/>
                    <a:pt x="41" y="40"/>
                  </a:cubicBezTo>
                  <a:cubicBezTo>
                    <a:pt x="35" y="48"/>
                    <a:pt x="32" y="58"/>
                    <a:pt x="32" y="71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6" y="20"/>
                    <a:pt x="41" y="13"/>
                    <a:pt x="47" y="8"/>
                  </a:cubicBezTo>
                  <a:cubicBezTo>
                    <a:pt x="53" y="2"/>
                    <a:pt x="60" y="0"/>
                    <a:pt x="69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8" name="Freeform 38"/>
            <p:cNvSpPr>
              <a:spLocks/>
            </p:cNvSpPr>
            <p:nvPr userDrawn="1"/>
          </p:nvSpPr>
          <p:spPr bwMode="auto">
            <a:xfrm>
              <a:off x="2466975" y="2066926"/>
              <a:ext cx="201613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Freeform 39"/>
            <p:cNvSpPr>
              <a:spLocks noEditPoints="1"/>
            </p:cNvSpPr>
            <p:nvPr userDrawn="1"/>
          </p:nvSpPr>
          <p:spPr bwMode="auto">
            <a:xfrm>
              <a:off x="27273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20 w 39"/>
                <a:gd name="T5" fmla="*/ 37 h 209"/>
                <a:gd name="T6" fmla="*/ 6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20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30" y="35"/>
                    <a:pt x="25" y="37"/>
                    <a:pt x="20" y="37"/>
                  </a:cubicBezTo>
                  <a:cubicBezTo>
                    <a:pt x="14" y="37"/>
                    <a:pt x="10" y="35"/>
                    <a:pt x="6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5" y="0"/>
                    <a:pt x="30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Freeform 40"/>
            <p:cNvSpPr>
              <a:spLocks/>
            </p:cNvSpPr>
            <p:nvPr userDrawn="1"/>
          </p:nvSpPr>
          <p:spPr bwMode="auto">
            <a:xfrm>
              <a:off x="2824163" y="2071688"/>
              <a:ext cx="193675" cy="227013"/>
            </a:xfrm>
            <a:custGeom>
              <a:avLst/>
              <a:gdLst>
                <a:gd name="T0" fmla="*/ 46 w 122"/>
                <a:gd name="T1" fmla="*/ 117 h 143"/>
                <a:gd name="T2" fmla="*/ 122 w 122"/>
                <a:gd name="T3" fmla="*/ 117 h 143"/>
                <a:gd name="T4" fmla="*/ 122 w 122"/>
                <a:gd name="T5" fmla="*/ 143 h 143"/>
                <a:gd name="T6" fmla="*/ 0 w 122"/>
                <a:gd name="T7" fmla="*/ 143 h 143"/>
                <a:gd name="T8" fmla="*/ 0 w 122"/>
                <a:gd name="T9" fmla="*/ 132 h 143"/>
                <a:gd name="T10" fmla="*/ 77 w 122"/>
                <a:gd name="T11" fmla="*/ 26 h 143"/>
                <a:gd name="T12" fmla="*/ 8 w 122"/>
                <a:gd name="T13" fmla="*/ 26 h 143"/>
                <a:gd name="T14" fmla="*/ 8 w 122"/>
                <a:gd name="T15" fmla="*/ 0 h 143"/>
                <a:gd name="T16" fmla="*/ 122 w 122"/>
                <a:gd name="T17" fmla="*/ 0 h 143"/>
                <a:gd name="T18" fmla="*/ 122 w 122"/>
                <a:gd name="T19" fmla="*/ 12 h 143"/>
                <a:gd name="T20" fmla="*/ 46 w 122"/>
                <a:gd name="T21" fmla="*/ 1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43">
                  <a:moveTo>
                    <a:pt x="46" y="117"/>
                  </a:moveTo>
                  <a:lnTo>
                    <a:pt x="122" y="117"/>
                  </a:lnTo>
                  <a:lnTo>
                    <a:pt x="122" y="143"/>
                  </a:lnTo>
                  <a:lnTo>
                    <a:pt x="0" y="143"/>
                  </a:lnTo>
                  <a:lnTo>
                    <a:pt x="0" y="132"/>
                  </a:lnTo>
                  <a:lnTo>
                    <a:pt x="77" y="26"/>
                  </a:lnTo>
                  <a:lnTo>
                    <a:pt x="8" y="26"/>
                  </a:lnTo>
                  <a:lnTo>
                    <a:pt x="8" y="0"/>
                  </a:lnTo>
                  <a:lnTo>
                    <a:pt x="122" y="0"/>
                  </a:lnTo>
                  <a:lnTo>
                    <a:pt x="122" y="12"/>
                  </a:lnTo>
                  <a:lnTo>
                    <a:pt x="46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Freeform 41"/>
            <p:cNvSpPr>
              <a:spLocks noEditPoints="1"/>
            </p:cNvSpPr>
            <p:nvPr userDrawn="1"/>
          </p:nvSpPr>
          <p:spPr bwMode="auto">
            <a:xfrm>
              <a:off x="30575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19 w 39"/>
                <a:gd name="T5" fmla="*/ 37 h 209"/>
                <a:gd name="T6" fmla="*/ 5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19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29" y="35"/>
                    <a:pt x="25" y="37"/>
                    <a:pt x="19" y="37"/>
                  </a:cubicBezTo>
                  <a:cubicBezTo>
                    <a:pt x="14" y="37"/>
                    <a:pt x="9" y="35"/>
                    <a:pt x="5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5" y="0"/>
                    <a:pt x="29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Freeform 42"/>
            <p:cNvSpPr>
              <a:spLocks/>
            </p:cNvSpPr>
            <p:nvPr userDrawn="1"/>
          </p:nvSpPr>
          <p:spPr bwMode="auto">
            <a:xfrm>
              <a:off x="3182938" y="2066926"/>
              <a:ext cx="203200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3" name="Freeform 43"/>
            <p:cNvSpPr>
              <a:spLocks noEditPoints="1"/>
            </p:cNvSpPr>
            <p:nvPr userDrawn="1"/>
          </p:nvSpPr>
          <p:spPr bwMode="auto">
            <a:xfrm>
              <a:off x="3433763" y="2066926"/>
              <a:ext cx="220663" cy="339725"/>
            </a:xfrm>
            <a:custGeom>
              <a:avLst/>
              <a:gdLst>
                <a:gd name="T0" fmla="*/ 137 w 137"/>
                <a:gd name="T1" fmla="*/ 131 h 210"/>
                <a:gd name="T2" fmla="*/ 116 w 137"/>
                <a:gd name="T3" fmla="*/ 190 h 210"/>
                <a:gd name="T4" fmla="*/ 57 w 137"/>
                <a:gd name="T5" fmla="*/ 210 h 210"/>
                <a:gd name="T6" fmla="*/ 32 w 137"/>
                <a:gd name="T7" fmla="*/ 207 h 210"/>
                <a:gd name="T8" fmla="*/ 11 w 137"/>
                <a:gd name="T9" fmla="*/ 201 h 210"/>
                <a:gd name="T10" fmla="*/ 11 w 137"/>
                <a:gd name="T11" fmla="*/ 171 h 210"/>
                <a:gd name="T12" fmla="*/ 35 w 137"/>
                <a:gd name="T13" fmla="*/ 182 h 210"/>
                <a:gd name="T14" fmla="*/ 57 w 137"/>
                <a:gd name="T15" fmla="*/ 184 h 210"/>
                <a:gd name="T16" fmla="*/ 92 w 137"/>
                <a:gd name="T17" fmla="*/ 172 h 210"/>
                <a:gd name="T18" fmla="*/ 105 w 137"/>
                <a:gd name="T19" fmla="*/ 135 h 210"/>
                <a:gd name="T20" fmla="*/ 105 w 137"/>
                <a:gd name="T21" fmla="*/ 122 h 210"/>
                <a:gd name="T22" fmla="*/ 104 w 137"/>
                <a:gd name="T23" fmla="*/ 122 h 210"/>
                <a:gd name="T24" fmla="*/ 86 w 137"/>
                <a:gd name="T25" fmla="*/ 141 h 210"/>
                <a:gd name="T26" fmla="*/ 58 w 137"/>
                <a:gd name="T27" fmla="*/ 147 h 210"/>
                <a:gd name="T28" fmla="*/ 16 w 137"/>
                <a:gd name="T29" fmla="*/ 129 h 210"/>
                <a:gd name="T30" fmla="*/ 0 w 137"/>
                <a:gd name="T31" fmla="*/ 78 h 210"/>
                <a:gd name="T32" fmla="*/ 17 w 137"/>
                <a:gd name="T33" fmla="*/ 21 h 210"/>
                <a:gd name="T34" fmla="*/ 64 w 137"/>
                <a:gd name="T35" fmla="*/ 0 h 210"/>
                <a:gd name="T36" fmla="*/ 104 w 137"/>
                <a:gd name="T37" fmla="*/ 21 h 210"/>
                <a:gd name="T38" fmla="*/ 105 w 137"/>
                <a:gd name="T39" fmla="*/ 21 h 210"/>
                <a:gd name="T40" fmla="*/ 105 w 137"/>
                <a:gd name="T41" fmla="*/ 3 h 210"/>
                <a:gd name="T42" fmla="*/ 137 w 137"/>
                <a:gd name="T43" fmla="*/ 3 h 210"/>
                <a:gd name="T44" fmla="*/ 137 w 137"/>
                <a:gd name="T45" fmla="*/ 131 h 210"/>
                <a:gd name="T46" fmla="*/ 105 w 137"/>
                <a:gd name="T47" fmla="*/ 62 h 210"/>
                <a:gd name="T48" fmla="*/ 95 w 137"/>
                <a:gd name="T49" fmla="*/ 36 h 210"/>
                <a:gd name="T50" fmla="*/ 71 w 137"/>
                <a:gd name="T51" fmla="*/ 26 h 210"/>
                <a:gd name="T52" fmla="*/ 43 w 137"/>
                <a:gd name="T53" fmla="*/ 39 h 210"/>
                <a:gd name="T54" fmla="*/ 33 w 137"/>
                <a:gd name="T55" fmla="*/ 77 h 210"/>
                <a:gd name="T56" fmla="*/ 43 w 137"/>
                <a:gd name="T57" fmla="*/ 109 h 210"/>
                <a:gd name="T58" fmla="*/ 68 w 137"/>
                <a:gd name="T59" fmla="*/ 121 h 210"/>
                <a:gd name="T60" fmla="*/ 95 w 137"/>
                <a:gd name="T61" fmla="*/ 109 h 210"/>
                <a:gd name="T62" fmla="*/ 105 w 137"/>
                <a:gd name="T63" fmla="*/ 78 h 210"/>
                <a:gd name="T64" fmla="*/ 105 w 137"/>
                <a:gd name="T65" fmla="*/ 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210">
                  <a:moveTo>
                    <a:pt x="137" y="131"/>
                  </a:moveTo>
                  <a:cubicBezTo>
                    <a:pt x="137" y="156"/>
                    <a:pt x="130" y="176"/>
                    <a:pt x="116" y="190"/>
                  </a:cubicBezTo>
                  <a:cubicBezTo>
                    <a:pt x="102" y="203"/>
                    <a:pt x="83" y="210"/>
                    <a:pt x="57" y="210"/>
                  </a:cubicBezTo>
                  <a:cubicBezTo>
                    <a:pt x="49" y="210"/>
                    <a:pt x="40" y="209"/>
                    <a:pt x="32" y="207"/>
                  </a:cubicBezTo>
                  <a:cubicBezTo>
                    <a:pt x="23" y="206"/>
                    <a:pt x="16" y="204"/>
                    <a:pt x="11" y="201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20" y="176"/>
                    <a:pt x="28" y="180"/>
                    <a:pt x="35" y="182"/>
                  </a:cubicBezTo>
                  <a:cubicBezTo>
                    <a:pt x="42" y="184"/>
                    <a:pt x="50" y="184"/>
                    <a:pt x="57" y="184"/>
                  </a:cubicBezTo>
                  <a:cubicBezTo>
                    <a:pt x="72" y="184"/>
                    <a:pt x="84" y="180"/>
                    <a:pt x="92" y="172"/>
                  </a:cubicBezTo>
                  <a:cubicBezTo>
                    <a:pt x="101" y="164"/>
                    <a:pt x="105" y="151"/>
                    <a:pt x="105" y="135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99" y="130"/>
                    <a:pt x="93" y="136"/>
                    <a:pt x="86" y="141"/>
                  </a:cubicBezTo>
                  <a:cubicBezTo>
                    <a:pt x="79" y="145"/>
                    <a:pt x="69" y="147"/>
                    <a:pt x="58" y="147"/>
                  </a:cubicBezTo>
                  <a:cubicBezTo>
                    <a:pt x="41" y="147"/>
                    <a:pt x="26" y="141"/>
                    <a:pt x="16" y="129"/>
                  </a:cubicBezTo>
                  <a:cubicBezTo>
                    <a:pt x="5" y="116"/>
                    <a:pt x="0" y="99"/>
                    <a:pt x="0" y="78"/>
                  </a:cubicBezTo>
                  <a:cubicBezTo>
                    <a:pt x="0" y="54"/>
                    <a:pt x="6" y="35"/>
                    <a:pt x="17" y="21"/>
                  </a:cubicBezTo>
                  <a:cubicBezTo>
                    <a:pt x="29" y="7"/>
                    <a:pt x="45" y="0"/>
                    <a:pt x="64" y="0"/>
                  </a:cubicBezTo>
                  <a:cubicBezTo>
                    <a:pt x="82" y="0"/>
                    <a:pt x="95" y="7"/>
                    <a:pt x="104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37" y="3"/>
                    <a:pt x="137" y="3"/>
                    <a:pt x="137" y="3"/>
                  </a:cubicBezTo>
                  <a:lnTo>
                    <a:pt x="137" y="131"/>
                  </a:lnTo>
                  <a:close/>
                  <a:moveTo>
                    <a:pt x="105" y="62"/>
                  </a:moveTo>
                  <a:cubicBezTo>
                    <a:pt x="105" y="52"/>
                    <a:pt x="102" y="43"/>
                    <a:pt x="95" y="36"/>
                  </a:cubicBezTo>
                  <a:cubicBezTo>
                    <a:pt x="89" y="29"/>
                    <a:pt x="80" y="26"/>
                    <a:pt x="71" y="26"/>
                  </a:cubicBezTo>
                  <a:cubicBezTo>
                    <a:pt x="59" y="26"/>
                    <a:pt x="49" y="30"/>
                    <a:pt x="43" y="39"/>
                  </a:cubicBezTo>
                  <a:cubicBezTo>
                    <a:pt x="36" y="48"/>
                    <a:pt x="33" y="60"/>
                    <a:pt x="33" y="77"/>
                  </a:cubicBezTo>
                  <a:cubicBezTo>
                    <a:pt x="33" y="91"/>
                    <a:pt x="36" y="101"/>
                    <a:pt x="43" y="109"/>
                  </a:cubicBezTo>
                  <a:cubicBezTo>
                    <a:pt x="49" y="117"/>
                    <a:pt x="58" y="121"/>
                    <a:pt x="68" y="121"/>
                  </a:cubicBezTo>
                  <a:cubicBezTo>
                    <a:pt x="79" y="121"/>
                    <a:pt x="88" y="117"/>
                    <a:pt x="95" y="109"/>
                  </a:cubicBezTo>
                  <a:cubicBezTo>
                    <a:pt x="102" y="101"/>
                    <a:pt x="105" y="91"/>
                    <a:pt x="105" y="78"/>
                  </a:cubicBezTo>
                  <a:lnTo>
                    <a:pt x="105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4" name="Freeform 44"/>
            <p:cNvSpPr>
              <a:spLocks/>
            </p:cNvSpPr>
            <p:nvPr userDrawn="1"/>
          </p:nvSpPr>
          <p:spPr bwMode="auto">
            <a:xfrm>
              <a:off x="3795713" y="2058988"/>
              <a:ext cx="198438" cy="239713"/>
            </a:xfrm>
            <a:custGeom>
              <a:avLst/>
              <a:gdLst>
                <a:gd name="T0" fmla="*/ 73 w 123"/>
                <a:gd name="T1" fmla="*/ 95 h 149"/>
                <a:gd name="T2" fmla="*/ 73 w 123"/>
                <a:gd name="T3" fmla="*/ 149 h 149"/>
                <a:gd name="T4" fmla="*/ 48 w 123"/>
                <a:gd name="T5" fmla="*/ 149 h 149"/>
                <a:gd name="T6" fmla="*/ 48 w 123"/>
                <a:gd name="T7" fmla="*/ 95 h 149"/>
                <a:gd name="T8" fmla="*/ 0 w 123"/>
                <a:gd name="T9" fmla="*/ 0 h 149"/>
                <a:gd name="T10" fmla="*/ 28 w 123"/>
                <a:gd name="T11" fmla="*/ 0 h 149"/>
                <a:gd name="T12" fmla="*/ 58 w 123"/>
                <a:gd name="T13" fmla="*/ 62 h 149"/>
                <a:gd name="T14" fmla="*/ 60 w 123"/>
                <a:gd name="T15" fmla="*/ 67 h 149"/>
                <a:gd name="T16" fmla="*/ 62 w 123"/>
                <a:gd name="T17" fmla="*/ 72 h 149"/>
                <a:gd name="T18" fmla="*/ 62 w 123"/>
                <a:gd name="T19" fmla="*/ 72 h 149"/>
                <a:gd name="T20" fmla="*/ 65 w 123"/>
                <a:gd name="T21" fmla="*/ 62 h 149"/>
                <a:gd name="T22" fmla="*/ 96 w 123"/>
                <a:gd name="T23" fmla="*/ 0 h 149"/>
                <a:gd name="T24" fmla="*/ 123 w 123"/>
                <a:gd name="T25" fmla="*/ 0 h 149"/>
                <a:gd name="T26" fmla="*/ 73 w 123"/>
                <a:gd name="T27" fmla="*/ 9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49">
                  <a:moveTo>
                    <a:pt x="73" y="95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9" y="64"/>
                    <a:pt x="60" y="66"/>
                    <a:pt x="60" y="67"/>
                  </a:cubicBezTo>
                  <a:cubicBezTo>
                    <a:pt x="61" y="69"/>
                    <a:pt x="61" y="70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68"/>
                    <a:pt x="64" y="65"/>
                    <a:pt x="65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73" y="95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5" name="Freeform 45"/>
            <p:cNvSpPr>
              <a:spLocks noEditPoints="1"/>
            </p:cNvSpPr>
            <p:nvPr userDrawn="1"/>
          </p:nvSpPr>
          <p:spPr bwMode="auto">
            <a:xfrm>
              <a:off x="3967163" y="2122488"/>
              <a:ext cx="177800" cy="180975"/>
            </a:xfrm>
            <a:custGeom>
              <a:avLst/>
              <a:gdLst>
                <a:gd name="T0" fmla="*/ 110 w 110"/>
                <a:gd name="T1" fmla="*/ 55 h 112"/>
                <a:gd name="T2" fmla="*/ 95 w 110"/>
                <a:gd name="T3" fmla="*/ 96 h 112"/>
                <a:gd name="T4" fmla="*/ 54 w 110"/>
                <a:gd name="T5" fmla="*/ 112 h 112"/>
                <a:gd name="T6" fmla="*/ 15 w 110"/>
                <a:gd name="T7" fmla="*/ 97 h 112"/>
                <a:gd name="T8" fmla="*/ 0 w 110"/>
                <a:gd name="T9" fmla="*/ 57 h 112"/>
                <a:gd name="T10" fmla="*/ 15 w 110"/>
                <a:gd name="T11" fmla="*/ 15 h 112"/>
                <a:gd name="T12" fmla="*/ 56 w 110"/>
                <a:gd name="T13" fmla="*/ 0 h 112"/>
                <a:gd name="T14" fmla="*/ 96 w 110"/>
                <a:gd name="T15" fmla="*/ 14 h 112"/>
                <a:gd name="T16" fmla="*/ 110 w 110"/>
                <a:gd name="T17" fmla="*/ 55 h 112"/>
                <a:gd name="T18" fmla="*/ 85 w 110"/>
                <a:gd name="T19" fmla="*/ 55 h 112"/>
                <a:gd name="T20" fmla="*/ 77 w 110"/>
                <a:gd name="T21" fmla="*/ 29 h 112"/>
                <a:gd name="T22" fmla="*/ 55 w 110"/>
                <a:gd name="T23" fmla="*/ 19 h 112"/>
                <a:gd name="T24" fmla="*/ 33 w 110"/>
                <a:gd name="T25" fmla="*/ 29 h 112"/>
                <a:gd name="T26" fmla="*/ 25 w 110"/>
                <a:gd name="T27" fmla="*/ 56 h 112"/>
                <a:gd name="T28" fmla="*/ 33 w 110"/>
                <a:gd name="T29" fmla="*/ 82 h 112"/>
                <a:gd name="T30" fmla="*/ 55 w 110"/>
                <a:gd name="T31" fmla="*/ 92 h 112"/>
                <a:gd name="T32" fmla="*/ 77 w 110"/>
                <a:gd name="T33" fmla="*/ 83 h 112"/>
                <a:gd name="T34" fmla="*/ 85 w 110"/>
                <a:gd name="T35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12">
                  <a:moveTo>
                    <a:pt x="110" y="55"/>
                  </a:moveTo>
                  <a:cubicBezTo>
                    <a:pt x="110" y="72"/>
                    <a:pt x="105" y="86"/>
                    <a:pt x="95" y="96"/>
                  </a:cubicBezTo>
                  <a:cubicBezTo>
                    <a:pt x="85" y="106"/>
                    <a:pt x="71" y="112"/>
                    <a:pt x="54" y="112"/>
                  </a:cubicBezTo>
                  <a:cubicBezTo>
                    <a:pt x="37" y="112"/>
                    <a:pt x="24" y="107"/>
                    <a:pt x="15" y="97"/>
                  </a:cubicBezTo>
                  <a:cubicBezTo>
                    <a:pt x="5" y="87"/>
                    <a:pt x="0" y="74"/>
                    <a:pt x="0" y="57"/>
                  </a:cubicBezTo>
                  <a:cubicBezTo>
                    <a:pt x="0" y="39"/>
                    <a:pt x="5" y="25"/>
                    <a:pt x="15" y="15"/>
                  </a:cubicBezTo>
                  <a:cubicBezTo>
                    <a:pt x="25" y="5"/>
                    <a:pt x="39" y="0"/>
                    <a:pt x="56" y="0"/>
                  </a:cubicBezTo>
                  <a:cubicBezTo>
                    <a:pt x="73" y="0"/>
                    <a:pt x="86" y="5"/>
                    <a:pt x="96" y="14"/>
                  </a:cubicBezTo>
                  <a:cubicBezTo>
                    <a:pt x="105" y="24"/>
                    <a:pt x="110" y="38"/>
                    <a:pt x="110" y="55"/>
                  </a:cubicBezTo>
                  <a:close/>
                  <a:moveTo>
                    <a:pt x="85" y="55"/>
                  </a:moveTo>
                  <a:cubicBezTo>
                    <a:pt x="85" y="44"/>
                    <a:pt x="82" y="35"/>
                    <a:pt x="77" y="29"/>
                  </a:cubicBezTo>
                  <a:cubicBezTo>
                    <a:pt x="71" y="22"/>
                    <a:pt x="64" y="19"/>
                    <a:pt x="55" y="19"/>
                  </a:cubicBezTo>
                  <a:cubicBezTo>
                    <a:pt x="46" y="19"/>
                    <a:pt x="38" y="23"/>
                    <a:pt x="33" y="29"/>
                  </a:cubicBezTo>
                  <a:cubicBezTo>
                    <a:pt x="28" y="35"/>
                    <a:pt x="25" y="44"/>
                    <a:pt x="25" y="56"/>
                  </a:cubicBezTo>
                  <a:cubicBezTo>
                    <a:pt x="25" y="67"/>
                    <a:pt x="28" y="76"/>
                    <a:pt x="33" y="82"/>
                  </a:cubicBezTo>
                  <a:cubicBezTo>
                    <a:pt x="38" y="89"/>
                    <a:pt x="46" y="92"/>
                    <a:pt x="55" y="92"/>
                  </a:cubicBezTo>
                  <a:cubicBezTo>
                    <a:pt x="65" y="92"/>
                    <a:pt x="72" y="89"/>
                    <a:pt x="77" y="83"/>
                  </a:cubicBezTo>
                  <a:cubicBezTo>
                    <a:pt x="82" y="76"/>
                    <a:pt x="85" y="67"/>
                    <a:pt x="85" y="55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6" name="Freeform 46"/>
            <p:cNvSpPr>
              <a:spLocks/>
            </p:cNvSpPr>
            <p:nvPr userDrawn="1"/>
          </p:nvSpPr>
          <p:spPr bwMode="auto">
            <a:xfrm>
              <a:off x="4181475" y="2125663"/>
              <a:ext cx="153988" cy="177800"/>
            </a:xfrm>
            <a:custGeom>
              <a:avLst/>
              <a:gdLst>
                <a:gd name="T0" fmla="*/ 71 w 95"/>
                <a:gd name="T1" fmla="*/ 107 h 110"/>
                <a:gd name="T2" fmla="*/ 71 w 95"/>
                <a:gd name="T3" fmla="*/ 91 h 110"/>
                <a:gd name="T4" fmla="*/ 70 w 95"/>
                <a:gd name="T5" fmla="*/ 91 h 110"/>
                <a:gd name="T6" fmla="*/ 57 w 95"/>
                <a:gd name="T7" fmla="*/ 105 h 110"/>
                <a:gd name="T8" fmla="*/ 38 w 95"/>
                <a:gd name="T9" fmla="*/ 110 h 110"/>
                <a:gd name="T10" fmla="*/ 10 w 95"/>
                <a:gd name="T11" fmla="*/ 98 h 110"/>
                <a:gd name="T12" fmla="*/ 0 w 95"/>
                <a:gd name="T13" fmla="*/ 65 h 110"/>
                <a:gd name="T14" fmla="*/ 0 w 95"/>
                <a:gd name="T15" fmla="*/ 0 h 110"/>
                <a:gd name="T16" fmla="*/ 24 w 95"/>
                <a:gd name="T17" fmla="*/ 0 h 110"/>
                <a:gd name="T18" fmla="*/ 24 w 95"/>
                <a:gd name="T19" fmla="*/ 62 h 110"/>
                <a:gd name="T20" fmla="*/ 46 w 95"/>
                <a:gd name="T21" fmla="*/ 90 h 110"/>
                <a:gd name="T22" fmla="*/ 64 w 95"/>
                <a:gd name="T23" fmla="*/ 82 h 110"/>
                <a:gd name="T24" fmla="*/ 71 w 95"/>
                <a:gd name="T25" fmla="*/ 62 h 110"/>
                <a:gd name="T26" fmla="*/ 71 w 95"/>
                <a:gd name="T27" fmla="*/ 0 h 110"/>
                <a:gd name="T28" fmla="*/ 95 w 95"/>
                <a:gd name="T29" fmla="*/ 0 h 110"/>
                <a:gd name="T30" fmla="*/ 95 w 95"/>
                <a:gd name="T31" fmla="*/ 107 h 110"/>
                <a:gd name="T32" fmla="*/ 71 w 95"/>
                <a:gd name="T33" fmla="*/ 10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10">
                  <a:moveTo>
                    <a:pt x="71" y="107"/>
                  </a:moveTo>
                  <a:cubicBezTo>
                    <a:pt x="71" y="91"/>
                    <a:pt x="71" y="91"/>
                    <a:pt x="71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7" y="97"/>
                    <a:pt x="62" y="101"/>
                    <a:pt x="57" y="105"/>
                  </a:cubicBezTo>
                  <a:cubicBezTo>
                    <a:pt x="51" y="108"/>
                    <a:pt x="45" y="110"/>
                    <a:pt x="38" y="110"/>
                  </a:cubicBezTo>
                  <a:cubicBezTo>
                    <a:pt x="26" y="110"/>
                    <a:pt x="16" y="106"/>
                    <a:pt x="10" y="98"/>
                  </a:cubicBezTo>
                  <a:cubicBezTo>
                    <a:pt x="3" y="91"/>
                    <a:pt x="0" y="80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81"/>
                    <a:pt x="32" y="90"/>
                    <a:pt x="46" y="90"/>
                  </a:cubicBezTo>
                  <a:cubicBezTo>
                    <a:pt x="54" y="90"/>
                    <a:pt x="59" y="87"/>
                    <a:pt x="64" y="82"/>
                  </a:cubicBezTo>
                  <a:cubicBezTo>
                    <a:pt x="68" y="77"/>
                    <a:pt x="71" y="70"/>
                    <a:pt x="71" y="6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107"/>
                    <a:pt x="95" y="107"/>
                    <a:pt x="95" y="107"/>
                  </a:cubicBezTo>
                  <a:lnTo>
                    <a:pt x="71" y="107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7" name="Freeform 47"/>
            <p:cNvSpPr>
              <a:spLocks/>
            </p:cNvSpPr>
            <p:nvPr userDrawn="1"/>
          </p:nvSpPr>
          <p:spPr bwMode="auto">
            <a:xfrm>
              <a:off x="4379913" y="2122488"/>
              <a:ext cx="100013" cy="176213"/>
            </a:xfrm>
            <a:custGeom>
              <a:avLst/>
              <a:gdLst>
                <a:gd name="T0" fmla="*/ 62 w 62"/>
                <a:gd name="T1" fmla="*/ 26 h 109"/>
                <a:gd name="T2" fmla="*/ 55 w 62"/>
                <a:gd name="T3" fmla="*/ 23 h 109"/>
                <a:gd name="T4" fmla="*/ 48 w 62"/>
                <a:gd name="T5" fmla="*/ 22 h 109"/>
                <a:gd name="T6" fmla="*/ 31 w 62"/>
                <a:gd name="T7" fmla="*/ 31 h 109"/>
                <a:gd name="T8" fmla="*/ 24 w 62"/>
                <a:gd name="T9" fmla="*/ 54 h 109"/>
                <a:gd name="T10" fmla="*/ 24 w 62"/>
                <a:gd name="T11" fmla="*/ 109 h 109"/>
                <a:gd name="T12" fmla="*/ 0 w 62"/>
                <a:gd name="T13" fmla="*/ 109 h 109"/>
                <a:gd name="T14" fmla="*/ 0 w 62"/>
                <a:gd name="T15" fmla="*/ 2 h 109"/>
                <a:gd name="T16" fmla="*/ 24 w 62"/>
                <a:gd name="T17" fmla="*/ 2 h 109"/>
                <a:gd name="T18" fmla="*/ 24 w 62"/>
                <a:gd name="T19" fmla="*/ 23 h 109"/>
                <a:gd name="T20" fmla="*/ 25 w 62"/>
                <a:gd name="T21" fmla="*/ 23 h 109"/>
                <a:gd name="T22" fmla="*/ 35 w 62"/>
                <a:gd name="T23" fmla="*/ 6 h 109"/>
                <a:gd name="T24" fmla="*/ 52 w 62"/>
                <a:gd name="T25" fmla="*/ 0 h 109"/>
                <a:gd name="T26" fmla="*/ 62 w 62"/>
                <a:gd name="T27" fmla="*/ 2 h 109"/>
                <a:gd name="T28" fmla="*/ 62 w 62"/>
                <a:gd name="T29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09">
                  <a:moveTo>
                    <a:pt x="62" y="26"/>
                  </a:moveTo>
                  <a:cubicBezTo>
                    <a:pt x="60" y="25"/>
                    <a:pt x="58" y="24"/>
                    <a:pt x="55" y="23"/>
                  </a:cubicBezTo>
                  <a:cubicBezTo>
                    <a:pt x="53" y="22"/>
                    <a:pt x="50" y="22"/>
                    <a:pt x="48" y="22"/>
                  </a:cubicBezTo>
                  <a:cubicBezTo>
                    <a:pt x="41" y="22"/>
                    <a:pt x="35" y="25"/>
                    <a:pt x="31" y="31"/>
                  </a:cubicBezTo>
                  <a:cubicBezTo>
                    <a:pt x="26" y="37"/>
                    <a:pt x="24" y="45"/>
                    <a:pt x="24" y="54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7" y="16"/>
                    <a:pt x="31" y="10"/>
                    <a:pt x="35" y="6"/>
                  </a:cubicBezTo>
                  <a:cubicBezTo>
                    <a:pt x="40" y="2"/>
                    <a:pt x="46" y="0"/>
                    <a:pt x="52" y="0"/>
                  </a:cubicBezTo>
                  <a:cubicBezTo>
                    <a:pt x="56" y="0"/>
                    <a:pt x="59" y="1"/>
                    <a:pt x="62" y="2"/>
                  </a:cubicBezTo>
                  <a:lnTo>
                    <a:pt x="62" y="26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18" name="Group 117"/>
          <p:cNvGrpSpPr/>
          <p:nvPr userDrawn="1"/>
        </p:nvGrpSpPr>
        <p:grpSpPr>
          <a:xfrm>
            <a:off x="1404553" y="2845307"/>
            <a:ext cx="3219971" cy="336207"/>
            <a:chOff x="1500188" y="2508251"/>
            <a:chExt cx="3284538" cy="342900"/>
          </a:xfrm>
        </p:grpSpPr>
        <p:sp>
          <p:nvSpPr>
            <p:cNvPr id="119" name="Freeform 48"/>
            <p:cNvSpPr>
              <a:spLocks noEditPoints="1"/>
            </p:cNvSpPr>
            <p:nvPr userDrawn="1"/>
          </p:nvSpPr>
          <p:spPr bwMode="auto">
            <a:xfrm>
              <a:off x="1500188" y="2527301"/>
              <a:ext cx="268288" cy="317500"/>
            </a:xfrm>
            <a:custGeom>
              <a:avLst/>
              <a:gdLst>
                <a:gd name="T0" fmla="*/ 166 w 166"/>
                <a:gd name="T1" fmla="*/ 96 h 196"/>
                <a:gd name="T2" fmla="*/ 153 w 166"/>
                <a:gd name="T3" fmla="*/ 149 h 196"/>
                <a:gd name="T4" fmla="*/ 115 w 166"/>
                <a:gd name="T5" fmla="*/ 184 h 196"/>
                <a:gd name="T6" fmla="*/ 59 w 166"/>
                <a:gd name="T7" fmla="*/ 196 h 196"/>
                <a:gd name="T8" fmla="*/ 0 w 166"/>
                <a:gd name="T9" fmla="*/ 196 h 196"/>
                <a:gd name="T10" fmla="*/ 0 w 166"/>
                <a:gd name="T11" fmla="*/ 0 h 196"/>
                <a:gd name="T12" fmla="*/ 61 w 166"/>
                <a:gd name="T13" fmla="*/ 0 h 196"/>
                <a:gd name="T14" fmla="*/ 140 w 166"/>
                <a:gd name="T15" fmla="*/ 24 h 196"/>
                <a:gd name="T16" fmla="*/ 166 w 166"/>
                <a:gd name="T17" fmla="*/ 96 h 196"/>
                <a:gd name="T18" fmla="*/ 131 w 166"/>
                <a:gd name="T19" fmla="*/ 96 h 196"/>
                <a:gd name="T20" fmla="*/ 113 w 166"/>
                <a:gd name="T21" fmla="*/ 45 h 196"/>
                <a:gd name="T22" fmla="*/ 59 w 166"/>
                <a:gd name="T23" fmla="*/ 28 h 196"/>
                <a:gd name="T24" fmla="*/ 32 w 166"/>
                <a:gd name="T25" fmla="*/ 28 h 196"/>
                <a:gd name="T26" fmla="*/ 32 w 166"/>
                <a:gd name="T27" fmla="*/ 168 h 196"/>
                <a:gd name="T28" fmla="*/ 59 w 166"/>
                <a:gd name="T29" fmla="*/ 168 h 196"/>
                <a:gd name="T30" fmla="*/ 112 w 166"/>
                <a:gd name="T31" fmla="*/ 149 h 196"/>
                <a:gd name="T32" fmla="*/ 131 w 166"/>
                <a:gd name="T33" fmla="*/ 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96">
                  <a:moveTo>
                    <a:pt x="166" y="96"/>
                  </a:moveTo>
                  <a:cubicBezTo>
                    <a:pt x="166" y="116"/>
                    <a:pt x="162" y="133"/>
                    <a:pt x="153" y="149"/>
                  </a:cubicBezTo>
                  <a:cubicBezTo>
                    <a:pt x="144" y="164"/>
                    <a:pt x="132" y="176"/>
                    <a:pt x="115" y="184"/>
                  </a:cubicBezTo>
                  <a:cubicBezTo>
                    <a:pt x="99" y="192"/>
                    <a:pt x="80" y="196"/>
                    <a:pt x="59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6" y="0"/>
                    <a:pt x="122" y="8"/>
                    <a:pt x="140" y="24"/>
                  </a:cubicBezTo>
                  <a:cubicBezTo>
                    <a:pt x="157" y="40"/>
                    <a:pt x="166" y="64"/>
                    <a:pt x="166" y="96"/>
                  </a:cubicBezTo>
                  <a:close/>
                  <a:moveTo>
                    <a:pt x="131" y="96"/>
                  </a:moveTo>
                  <a:cubicBezTo>
                    <a:pt x="131" y="74"/>
                    <a:pt x="125" y="57"/>
                    <a:pt x="113" y="45"/>
                  </a:cubicBezTo>
                  <a:cubicBezTo>
                    <a:pt x="100" y="34"/>
                    <a:pt x="82" y="28"/>
                    <a:pt x="59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8"/>
                    <a:pt x="32" y="168"/>
                    <a:pt x="32" y="16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82" y="168"/>
                    <a:pt x="100" y="162"/>
                    <a:pt x="112" y="149"/>
                  </a:cubicBezTo>
                  <a:cubicBezTo>
                    <a:pt x="125" y="136"/>
                    <a:pt x="131" y="119"/>
                    <a:pt x="131" y="96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0" name="Freeform 49"/>
            <p:cNvSpPr>
              <a:spLocks noEditPoints="1"/>
            </p:cNvSpPr>
            <p:nvPr userDrawn="1"/>
          </p:nvSpPr>
          <p:spPr bwMode="auto">
            <a:xfrm>
              <a:off x="1801813" y="2611438"/>
              <a:ext cx="192088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5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2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5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2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6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1" name="Freeform 50"/>
            <p:cNvSpPr>
              <a:spLocks/>
            </p:cNvSpPr>
            <p:nvPr userDrawn="1"/>
          </p:nvSpPr>
          <p:spPr bwMode="auto">
            <a:xfrm>
              <a:off x="2019300" y="2549526"/>
              <a:ext cx="144463" cy="301625"/>
            </a:xfrm>
            <a:custGeom>
              <a:avLst/>
              <a:gdLst>
                <a:gd name="T0" fmla="*/ 89 w 89"/>
                <a:gd name="T1" fmla="*/ 181 h 186"/>
                <a:gd name="T2" fmla="*/ 79 w 89"/>
                <a:gd name="T3" fmla="*/ 184 h 186"/>
                <a:gd name="T4" fmla="*/ 64 w 89"/>
                <a:gd name="T5" fmla="*/ 186 h 186"/>
                <a:gd name="T6" fmla="*/ 23 w 89"/>
                <a:gd name="T7" fmla="*/ 141 h 186"/>
                <a:gd name="T8" fmla="*/ 23 w 89"/>
                <a:gd name="T9" fmla="*/ 67 h 186"/>
                <a:gd name="T10" fmla="*/ 0 w 89"/>
                <a:gd name="T11" fmla="*/ 67 h 186"/>
                <a:gd name="T12" fmla="*/ 0 w 89"/>
                <a:gd name="T13" fmla="*/ 42 h 186"/>
                <a:gd name="T14" fmla="*/ 23 w 89"/>
                <a:gd name="T15" fmla="*/ 42 h 186"/>
                <a:gd name="T16" fmla="*/ 23 w 89"/>
                <a:gd name="T17" fmla="*/ 9 h 186"/>
                <a:gd name="T18" fmla="*/ 55 w 89"/>
                <a:gd name="T19" fmla="*/ 0 h 186"/>
                <a:gd name="T20" fmla="*/ 55 w 89"/>
                <a:gd name="T21" fmla="*/ 42 h 186"/>
                <a:gd name="T22" fmla="*/ 89 w 89"/>
                <a:gd name="T23" fmla="*/ 42 h 186"/>
                <a:gd name="T24" fmla="*/ 89 w 89"/>
                <a:gd name="T25" fmla="*/ 67 h 186"/>
                <a:gd name="T26" fmla="*/ 55 w 89"/>
                <a:gd name="T27" fmla="*/ 67 h 186"/>
                <a:gd name="T28" fmla="*/ 55 w 89"/>
                <a:gd name="T29" fmla="*/ 135 h 186"/>
                <a:gd name="T30" fmla="*/ 60 w 89"/>
                <a:gd name="T31" fmla="*/ 154 h 186"/>
                <a:gd name="T32" fmla="*/ 75 w 89"/>
                <a:gd name="T33" fmla="*/ 160 h 186"/>
                <a:gd name="T34" fmla="*/ 82 w 89"/>
                <a:gd name="T35" fmla="*/ 159 h 186"/>
                <a:gd name="T36" fmla="*/ 89 w 89"/>
                <a:gd name="T37" fmla="*/ 156 h 186"/>
                <a:gd name="T38" fmla="*/ 89 w 89"/>
                <a:gd name="T39" fmla="*/ 18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186">
                  <a:moveTo>
                    <a:pt x="89" y="181"/>
                  </a:moveTo>
                  <a:cubicBezTo>
                    <a:pt x="87" y="182"/>
                    <a:pt x="83" y="183"/>
                    <a:pt x="79" y="184"/>
                  </a:cubicBezTo>
                  <a:cubicBezTo>
                    <a:pt x="74" y="185"/>
                    <a:pt x="69" y="186"/>
                    <a:pt x="64" y="186"/>
                  </a:cubicBezTo>
                  <a:cubicBezTo>
                    <a:pt x="37" y="186"/>
                    <a:pt x="23" y="171"/>
                    <a:pt x="23" y="141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5" y="144"/>
                    <a:pt x="56" y="151"/>
                    <a:pt x="60" y="154"/>
                  </a:cubicBezTo>
                  <a:cubicBezTo>
                    <a:pt x="63" y="158"/>
                    <a:pt x="68" y="160"/>
                    <a:pt x="75" y="160"/>
                  </a:cubicBezTo>
                  <a:cubicBezTo>
                    <a:pt x="77" y="160"/>
                    <a:pt x="79" y="160"/>
                    <a:pt x="82" y="159"/>
                  </a:cubicBezTo>
                  <a:cubicBezTo>
                    <a:pt x="85" y="158"/>
                    <a:pt x="87" y="157"/>
                    <a:pt x="89" y="156"/>
                  </a:cubicBezTo>
                  <a:lnTo>
                    <a:pt x="89" y="181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2" name="Freeform 51"/>
            <p:cNvSpPr>
              <a:spLocks noEditPoints="1"/>
            </p:cNvSpPr>
            <p:nvPr userDrawn="1"/>
          </p:nvSpPr>
          <p:spPr bwMode="auto">
            <a:xfrm>
              <a:off x="2190750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3" name="Freeform 52"/>
            <p:cNvSpPr>
              <a:spLocks/>
            </p:cNvSpPr>
            <p:nvPr userDrawn="1"/>
          </p:nvSpPr>
          <p:spPr bwMode="auto">
            <a:xfrm>
              <a:off x="2514600" y="2527301"/>
              <a:ext cx="436563" cy="317500"/>
            </a:xfrm>
            <a:custGeom>
              <a:avLst/>
              <a:gdLst>
                <a:gd name="T0" fmla="*/ 215 w 269"/>
                <a:gd name="T1" fmla="*/ 196 h 196"/>
                <a:gd name="T2" fmla="*/ 176 w 269"/>
                <a:gd name="T3" fmla="*/ 196 h 196"/>
                <a:gd name="T4" fmla="*/ 139 w 269"/>
                <a:gd name="T5" fmla="*/ 59 h 196"/>
                <a:gd name="T6" fmla="*/ 136 w 269"/>
                <a:gd name="T7" fmla="*/ 38 h 196"/>
                <a:gd name="T8" fmla="*/ 135 w 269"/>
                <a:gd name="T9" fmla="*/ 38 h 196"/>
                <a:gd name="T10" fmla="*/ 134 w 269"/>
                <a:gd name="T11" fmla="*/ 50 h 196"/>
                <a:gd name="T12" fmla="*/ 132 w 269"/>
                <a:gd name="T13" fmla="*/ 59 h 196"/>
                <a:gd name="T14" fmla="*/ 95 w 269"/>
                <a:gd name="T15" fmla="*/ 196 h 196"/>
                <a:gd name="T16" fmla="*/ 56 w 269"/>
                <a:gd name="T17" fmla="*/ 196 h 196"/>
                <a:gd name="T18" fmla="*/ 0 w 269"/>
                <a:gd name="T19" fmla="*/ 0 h 196"/>
                <a:gd name="T20" fmla="*/ 36 w 269"/>
                <a:gd name="T21" fmla="*/ 0 h 196"/>
                <a:gd name="T22" fmla="*/ 73 w 269"/>
                <a:gd name="T23" fmla="*/ 142 h 196"/>
                <a:gd name="T24" fmla="*/ 76 w 269"/>
                <a:gd name="T25" fmla="*/ 164 h 196"/>
                <a:gd name="T26" fmla="*/ 76 w 269"/>
                <a:gd name="T27" fmla="*/ 164 h 196"/>
                <a:gd name="T28" fmla="*/ 80 w 269"/>
                <a:gd name="T29" fmla="*/ 142 h 196"/>
                <a:gd name="T30" fmla="*/ 120 w 269"/>
                <a:gd name="T31" fmla="*/ 0 h 196"/>
                <a:gd name="T32" fmla="*/ 155 w 269"/>
                <a:gd name="T33" fmla="*/ 0 h 196"/>
                <a:gd name="T34" fmla="*/ 192 w 269"/>
                <a:gd name="T35" fmla="*/ 144 h 196"/>
                <a:gd name="T36" fmla="*/ 195 w 269"/>
                <a:gd name="T37" fmla="*/ 163 h 196"/>
                <a:gd name="T38" fmla="*/ 196 w 269"/>
                <a:gd name="T39" fmla="*/ 163 h 196"/>
                <a:gd name="T40" fmla="*/ 199 w 269"/>
                <a:gd name="T41" fmla="*/ 143 h 196"/>
                <a:gd name="T42" fmla="*/ 234 w 269"/>
                <a:gd name="T43" fmla="*/ 0 h 196"/>
                <a:gd name="T44" fmla="*/ 269 w 269"/>
                <a:gd name="T45" fmla="*/ 0 h 196"/>
                <a:gd name="T46" fmla="*/ 215 w 269"/>
                <a:gd name="T4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196">
                  <a:moveTo>
                    <a:pt x="215" y="196"/>
                  </a:moveTo>
                  <a:cubicBezTo>
                    <a:pt x="176" y="196"/>
                    <a:pt x="176" y="196"/>
                    <a:pt x="176" y="196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37" y="53"/>
                    <a:pt x="136" y="46"/>
                    <a:pt x="136" y="38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35" y="42"/>
                    <a:pt x="134" y="45"/>
                    <a:pt x="134" y="50"/>
                  </a:cubicBezTo>
                  <a:cubicBezTo>
                    <a:pt x="133" y="55"/>
                    <a:pt x="132" y="58"/>
                    <a:pt x="132" y="59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4" y="146"/>
                    <a:pt x="75" y="153"/>
                    <a:pt x="76" y="164"/>
                  </a:cubicBezTo>
                  <a:cubicBezTo>
                    <a:pt x="76" y="164"/>
                    <a:pt x="76" y="164"/>
                    <a:pt x="76" y="164"/>
                  </a:cubicBezTo>
                  <a:cubicBezTo>
                    <a:pt x="77" y="158"/>
                    <a:pt x="78" y="151"/>
                    <a:pt x="80" y="142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94" y="148"/>
                    <a:pt x="195" y="155"/>
                    <a:pt x="195" y="163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196" y="157"/>
                    <a:pt x="197" y="150"/>
                    <a:pt x="199" y="143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69" y="0"/>
                    <a:pt x="269" y="0"/>
                    <a:pt x="269" y="0"/>
                  </a:cubicBezTo>
                  <a:lnTo>
                    <a:pt x="215" y="196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4" name="Freeform 53"/>
            <p:cNvSpPr>
              <a:spLocks noEditPoints="1"/>
            </p:cNvSpPr>
            <p:nvPr userDrawn="1"/>
          </p:nvSpPr>
          <p:spPr bwMode="auto">
            <a:xfrm>
              <a:off x="2955925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3 w 118"/>
                <a:gd name="T23" fmla="*/ 41 h 148"/>
                <a:gd name="T24" fmla="*/ 13 w 118"/>
                <a:gd name="T25" fmla="*/ 13 h 148"/>
                <a:gd name="T26" fmla="*/ 36 w 118"/>
                <a:gd name="T27" fmla="*/ 4 h 148"/>
                <a:gd name="T28" fmla="*/ 63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6 w 118"/>
                <a:gd name="T51" fmla="*/ 80 h 148"/>
                <a:gd name="T52" fmla="*/ 36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3" y="41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3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7" y="123"/>
                    <a:pt x="54" y="123"/>
                  </a:cubicBezTo>
                  <a:cubicBezTo>
                    <a:pt x="64" y="123"/>
                    <a:pt x="71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47" y="81"/>
                    <a:pt x="40" y="84"/>
                    <a:pt x="36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5" name="Freeform 54"/>
            <p:cNvSpPr>
              <a:spLocks/>
            </p:cNvSpPr>
            <p:nvPr userDrawn="1"/>
          </p:nvSpPr>
          <p:spPr bwMode="auto">
            <a:xfrm>
              <a:off x="3205163" y="2613026"/>
              <a:ext cx="130175" cy="231775"/>
            </a:xfrm>
            <a:custGeom>
              <a:avLst/>
              <a:gdLst>
                <a:gd name="T0" fmla="*/ 81 w 81"/>
                <a:gd name="T1" fmla="*/ 34 h 143"/>
                <a:gd name="T2" fmla="*/ 73 w 81"/>
                <a:gd name="T3" fmla="*/ 30 h 143"/>
                <a:gd name="T4" fmla="*/ 63 w 81"/>
                <a:gd name="T5" fmla="*/ 29 h 143"/>
                <a:gd name="T6" fmla="*/ 40 w 81"/>
                <a:gd name="T7" fmla="*/ 41 h 143"/>
                <a:gd name="T8" fmla="*/ 32 w 81"/>
                <a:gd name="T9" fmla="*/ 72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3 h 143"/>
                <a:gd name="T16" fmla="*/ 32 w 81"/>
                <a:gd name="T17" fmla="*/ 3 h 143"/>
                <a:gd name="T18" fmla="*/ 32 w 81"/>
                <a:gd name="T19" fmla="*/ 30 h 143"/>
                <a:gd name="T20" fmla="*/ 32 w 81"/>
                <a:gd name="T21" fmla="*/ 30 h 143"/>
                <a:gd name="T22" fmla="*/ 47 w 81"/>
                <a:gd name="T23" fmla="*/ 8 h 143"/>
                <a:gd name="T24" fmla="*/ 68 w 81"/>
                <a:gd name="T25" fmla="*/ 0 h 143"/>
                <a:gd name="T26" fmla="*/ 81 w 81"/>
                <a:gd name="T27" fmla="*/ 2 h 143"/>
                <a:gd name="T28" fmla="*/ 81 w 81"/>
                <a:gd name="T29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4"/>
                  </a:moveTo>
                  <a:cubicBezTo>
                    <a:pt x="79" y="33"/>
                    <a:pt x="77" y="31"/>
                    <a:pt x="73" y="30"/>
                  </a:cubicBezTo>
                  <a:cubicBezTo>
                    <a:pt x="69" y="29"/>
                    <a:pt x="66" y="29"/>
                    <a:pt x="63" y="29"/>
                  </a:cubicBezTo>
                  <a:cubicBezTo>
                    <a:pt x="53" y="29"/>
                    <a:pt x="46" y="33"/>
                    <a:pt x="40" y="41"/>
                  </a:cubicBezTo>
                  <a:cubicBezTo>
                    <a:pt x="35" y="49"/>
                    <a:pt x="32" y="59"/>
                    <a:pt x="32" y="72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5" y="21"/>
                    <a:pt x="40" y="13"/>
                    <a:pt x="47" y="8"/>
                  </a:cubicBezTo>
                  <a:cubicBezTo>
                    <a:pt x="53" y="3"/>
                    <a:pt x="60" y="0"/>
                    <a:pt x="68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4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6" name="Freeform 55"/>
            <p:cNvSpPr>
              <a:spLocks noEditPoints="1"/>
            </p:cNvSpPr>
            <p:nvPr userDrawn="1"/>
          </p:nvSpPr>
          <p:spPr bwMode="auto">
            <a:xfrm>
              <a:off x="3348038" y="2611438"/>
              <a:ext cx="207963" cy="239713"/>
            </a:xfrm>
            <a:custGeom>
              <a:avLst/>
              <a:gdLst>
                <a:gd name="T0" fmla="*/ 32 w 128"/>
                <a:gd name="T1" fmla="*/ 83 h 148"/>
                <a:gd name="T2" fmla="*/ 44 w 128"/>
                <a:gd name="T3" fmla="*/ 113 h 148"/>
                <a:gd name="T4" fmla="*/ 75 w 128"/>
                <a:gd name="T5" fmla="*/ 123 h 148"/>
                <a:gd name="T6" fmla="*/ 97 w 128"/>
                <a:gd name="T7" fmla="*/ 119 h 148"/>
                <a:gd name="T8" fmla="*/ 117 w 128"/>
                <a:gd name="T9" fmla="*/ 109 h 148"/>
                <a:gd name="T10" fmla="*/ 117 w 128"/>
                <a:gd name="T11" fmla="*/ 136 h 148"/>
                <a:gd name="T12" fmla="*/ 95 w 128"/>
                <a:gd name="T13" fmla="*/ 145 h 148"/>
                <a:gd name="T14" fmla="*/ 67 w 128"/>
                <a:gd name="T15" fmla="*/ 148 h 148"/>
                <a:gd name="T16" fmla="*/ 17 w 128"/>
                <a:gd name="T17" fmla="*/ 129 h 148"/>
                <a:gd name="T18" fmla="*/ 0 w 128"/>
                <a:gd name="T19" fmla="*/ 76 h 148"/>
                <a:gd name="T20" fmla="*/ 8 w 128"/>
                <a:gd name="T21" fmla="*/ 36 h 148"/>
                <a:gd name="T22" fmla="*/ 33 w 128"/>
                <a:gd name="T23" fmla="*/ 10 h 148"/>
                <a:gd name="T24" fmla="*/ 67 w 128"/>
                <a:gd name="T25" fmla="*/ 0 h 148"/>
                <a:gd name="T26" fmla="*/ 112 w 128"/>
                <a:gd name="T27" fmla="*/ 18 h 148"/>
                <a:gd name="T28" fmla="*/ 128 w 128"/>
                <a:gd name="T29" fmla="*/ 68 h 148"/>
                <a:gd name="T30" fmla="*/ 128 w 128"/>
                <a:gd name="T31" fmla="*/ 83 h 148"/>
                <a:gd name="T32" fmla="*/ 32 w 128"/>
                <a:gd name="T33" fmla="*/ 83 h 148"/>
                <a:gd name="T34" fmla="*/ 96 w 128"/>
                <a:gd name="T35" fmla="*/ 60 h 148"/>
                <a:gd name="T36" fmla="*/ 89 w 128"/>
                <a:gd name="T37" fmla="*/ 34 h 148"/>
                <a:gd name="T38" fmla="*/ 67 w 128"/>
                <a:gd name="T39" fmla="*/ 25 h 148"/>
                <a:gd name="T40" fmla="*/ 44 w 128"/>
                <a:gd name="T41" fmla="*/ 35 h 148"/>
                <a:gd name="T42" fmla="*/ 32 w 128"/>
                <a:gd name="T43" fmla="*/ 60 h 148"/>
                <a:gd name="T44" fmla="*/ 96 w 128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8">
                  <a:moveTo>
                    <a:pt x="32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1" y="119"/>
                    <a:pt x="61" y="123"/>
                    <a:pt x="75" y="123"/>
                  </a:cubicBezTo>
                  <a:cubicBezTo>
                    <a:pt x="82" y="123"/>
                    <a:pt x="90" y="122"/>
                    <a:pt x="97" y="119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1" y="140"/>
                    <a:pt x="104" y="142"/>
                    <a:pt x="95" y="145"/>
                  </a:cubicBezTo>
                  <a:cubicBezTo>
                    <a:pt x="86" y="147"/>
                    <a:pt x="77" y="148"/>
                    <a:pt x="67" y="148"/>
                  </a:cubicBezTo>
                  <a:cubicBezTo>
                    <a:pt x="45" y="148"/>
                    <a:pt x="29" y="142"/>
                    <a:pt x="17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8" y="36"/>
                  </a:cubicBezTo>
                  <a:cubicBezTo>
                    <a:pt x="14" y="25"/>
                    <a:pt x="22" y="16"/>
                    <a:pt x="33" y="10"/>
                  </a:cubicBezTo>
                  <a:cubicBezTo>
                    <a:pt x="43" y="4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7"/>
                    <a:pt x="128" y="68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6" y="60"/>
                  </a:moveTo>
                  <a:cubicBezTo>
                    <a:pt x="96" y="48"/>
                    <a:pt x="94" y="40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0" y="28"/>
                    <a:pt x="44" y="35"/>
                  </a:cubicBezTo>
                  <a:cubicBezTo>
                    <a:pt x="38" y="41"/>
                    <a:pt x="34" y="49"/>
                    <a:pt x="32" y="60"/>
                  </a:cubicBezTo>
                  <a:lnTo>
                    <a:pt x="96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7" name="Freeform 56"/>
            <p:cNvSpPr>
              <a:spLocks/>
            </p:cNvSpPr>
            <p:nvPr userDrawn="1"/>
          </p:nvSpPr>
          <p:spPr bwMode="auto">
            <a:xfrm>
              <a:off x="3605213" y="2508251"/>
              <a:ext cx="201613" cy="336550"/>
            </a:xfrm>
            <a:custGeom>
              <a:avLst/>
              <a:gdLst>
                <a:gd name="T0" fmla="*/ 93 w 125"/>
                <a:gd name="T1" fmla="*/ 208 h 208"/>
                <a:gd name="T2" fmla="*/ 93 w 125"/>
                <a:gd name="T3" fmla="*/ 129 h 208"/>
                <a:gd name="T4" fmla="*/ 86 w 125"/>
                <a:gd name="T5" fmla="*/ 100 h 208"/>
                <a:gd name="T6" fmla="*/ 65 w 125"/>
                <a:gd name="T7" fmla="*/ 90 h 208"/>
                <a:gd name="T8" fmla="*/ 41 w 125"/>
                <a:gd name="T9" fmla="*/ 101 h 208"/>
                <a:gd name="T10" fmla="*/ 32 w 125"/>
                <a:gd name="T11" fmla="*/ 128 h 208"/>
                <a:gd name="T12" fmla="*/ 32 w 125"/>
                <a:gd name="T13" fmla="*/ 208 h 208"/>
                <a:gd name="T14" fmla="*/ 0 w 125"/>
                <a:gd name="T15" fmla="*/ 208 h 208"/>
                <a:gd name="T16" fmla="*/ 0 w 125"/>
                <a:gd name="T17" fmla="*/ 0 h 208"/>
                <a:gd name="T18" fmla="*/ 32 w 125"/>
                <a:gd name="T19" fmla="*/ 0 h 208"/>
                <a:gd name="T20" fmla="*/ 32 w 125"/>
                <a:gd name="T21" fmla="*/ 90 h 208"/>
                <a:gd name="T22" fmla="*/ 33 w 125"/>
                <a:gd name="T23" fmla="*/ 90 h 208"/>
                <a:gd name="T24" fmla="*/ 77 w 125"/>
                <a:gd name="T25" fmla="*/ 64 h 208"/>
                <a:gd name="T26" fmla="*/ 113 w 125"/>
                <a:gd name="T27" fmla="*/ 79 h 208"/>
                <a:gd name="T28" fmla="*/ 125 w 125"/>
                <a:gd name="T29" fmla="*/ 122 h 208"/>
                <a:gd name="T30" fmla="*/ 125 w 125"/>
                <a:gd name="T31" fmla="*/ 208 h 208"/>
                <a:gd name="T32" fmla="*/ 93 w 125"/>
                <a:gd name="T3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208">
                  <a:moveTo>
                    <a:pt x="93" y="208"/>
                  </a:moveTo>
                  <a:cubicBezTo>
                    <a:pt x="93" y="129"/>
                    <a:pt x="93" y="129"/>
                    <a:pt x="93" y="129"/>
                  </a:cubicBezTo>
                  <a:cubicBezTo>
                    <a:pt x="93" y="116"/>
                    <a:pt x="91" y="107"/>
                    <a:pt x="86" y="100"/>
                  </a:cubicBezTo>
                  <a:cubicBezTo>
                    <a:pt x="82" y="94"/>
                    <a:pt x="75" y="90"/>
                    <a:pt x="65" y="90"/>
                  </a:cubicBezTo>
                  <a:cubicBezTo>
                    <a:pt x="56" y="90"/>
                    <a:pt x="48" y="94"/>
                    <a:pt x="41" y="101"/>
                  </a:cubicBezTo>
                  <a:cubicBezTo>
                    <a:pt x="35" y="108"/>
                    <a:pt x="32" y="117"/>
                    <a:pt x="32" y="12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43" y="73"/>
                    <a:pt x="58" y="64"/>
                    <a:pt x="77" y="64"/>
                  </a:cubicBezTo>
                  <a:cubicBezTo>
                    <a:pt x="93" y="64"/>
                    <a:pt x="105" y="69"/>
                    <a:pt x="113" y="79"/>
                  </a:cubicBezTo>
                  <a:cubicBezTo>
                    <a:pt x="121" y="89"/>
                    <a:pt x="125" y="103"/>
                    <a:pt x="125" y="122"/>
                  </a:cubicBezTo>
                  <a:cubicBezTo>
                    <a:pt x="125" y="208"/>
                    <a:pt x="125" y="208"/>
                    <a:pt x="125" y="208"/>
                  </a:cubicBezTo>
                  <a:lnTo>
                    <a:pt x="93" y="20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8" name="Freeform 57"/>
            <p:cNvSpPr>
              <a:spLocks noEditPoints="1"/>
            </p:cNvSpPr>
            <p:nvPr userDrawn="1"/>
          </p:nvSpPr>
          <p:spPr bwMode="auto">
            <a:xfrm>
              <a:off x="3854450" y="2611438"/>
              <a:ext cx="234950" cy="239713"/>
            </a:xfrm>
            <a:custGeom>
              <a:avLst/>
              <a:gdLst>
                <a:gd name="T0" fmla="*/ 145 w 145"/>
                <a:gd name="T1" fmla="*/ 73 h 148"/>
                <a:gd name="T2" fmla="*/ 125 w 145"/>
                <a:gd name="T3" fmla="*/ 127 h 148"/>
                <a:gd name="T4" fmla="*/ 71 w 145"/>
                <a:gd name="T5" fmla="*/ 148 h 148"/>
                <a:gd name="T6" fmla="*/ 19 w 145"/>
                <a:gd name="T7" fmla="*/ 128 h 148"/>
                <a:gd name="T8" fmla="*/ 0 w 145"/>
                <a:gd name="T9" fmla="*/ 76 h 148"/>
                <a:gd name="T10" fmla="*/ 20 w 145"/>
                <a:gd name="T11" fmla="*/ 21 h 148"/>
                <a:gd name="T12" fmla="*/ 75 w 145"/>
                <a:gd name="T13" fmla="*/ 0 h 148"/>
                <a:gd name="T14" fmla="*/ 126 w 145"/>
                <a:gd name="T15" fmla="*/ 20 h 148"/>
                <a:gd name="T16" fmla="*/ 145 w 145"/>
                <a:gd name="T17" fmla="*/ 73 h 148"/>
                <a:gd name="T18" fmla="*/ 112 w 145"/>
                <a:gd name="T19" fmla="*/ 74 h 148"/>
                <a:gd name="T20" fmla="*/ 101 w 145"/>
                <a:gd name="T21" fmla="*/ 38 h 148"/>
                <a:gd name="T22" fmla="*/ 73 w 145"/>
                <a:gd name="T23" fmla="*/ 26 h 148"/>
                <a:gd name="T24" fmla="*/ 44 w 145"/>
                <a:gd name="T25" fmla="*/ 39 h 148"/>
                <a:gd name="T26" fmla="*/ 33 w 145"/>
                <a:gd name="T27" fmla="*/ 75 h 148"/>
                <a:gd name="T28" fmla="*/ 44 w 145"/>
                <a:gd name="T29" fmla="*/ 110 h 148"/>
                <a:gd name="T30" fmla="*/ 73 w 145"/>
                <a:gd name="T31" fmla="*/ 122 h 148"/>
                <a:gd name="T32" fmla="*/ 102 w 145"/>
                <a:gd name="T33" fmla="*/ 110 h 148"/>
                <a:gd name="T34" fmla="*/ 112 w 145"/>
                <a:gd name="T35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8">
                  <a:moveTo>
                    <a:pt x="145" y="73"/>
                  </a:moveTo>
                  <a:cubicBezTo>
                    <a:pt x="145" y="96"/>
                    <a:pt x="138" y="114"/>
                    <a:pt x="125" y="127"/>
                  </a:cubicBezTo>
                  <a:cubicBezTo>
                    <a:pt x="112" y="141"/>
                    <a:pt x="94" y="148"/>
                    <a:pt x="71" y="148"/>
                  </a:cubicBezTo>
                  <a:cubicBezTo>
                    <a:pt x="50" y="148"/>
                    <a:pt x="32" y="141"/>
                    <a:pt x="19" y="128"/>
                  </a:cubicBezTo>
                  <a:cubicBezTo>
                    <a:pt x="7" y="116"/>
                    <a:pt x="0" y="98"/>
                    <a:pt x="0" y="76"/>
                  </a:cubicBezTo>
                  <a:cubicBezTo>
                    <a:pt x="0" y="52"/>
                    <a:pt x="7" y="34"/>
                    <a:pt x="20" y="21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7"/>
                    <a:pt x="126" y="20"/>
                  </a:cubicBezTo>
                  <a:cubicBezTo>
                    <a:pt x="139" y="33"/>
                    <a:pt x="145" y="50"/>
                    <a:pt x="145" y="73"/>
                  </a:cubicBezTo>
                  <a:close/>
                  <a:moveTo>
                    <a:pt x="112" y="74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1"/>
                    <a:pt x="44" y="39"/>
                  </a:cubicBezTo>
                  <a:cubicBezTo>
                    <a:pt x="37" y="47"/>
                    <a:pt x="33" y="59"/>
                    <a:pt x="33" y="75"/>
                  </a:cubicBezTo>
                  <a:cubicBezTo>
                    <a:pt x="33" y="90"/>
                    <a:pt x="37" y="101"/>
                    <a:pt x="44" y="110"/>
                  </a:cubicBezTo>
                  <a:cubicBezTo>
                    <a:pt x="51" y="118"/>
                    <a:pt x="61" y="122"/>
                    <a:pt x="73" y="122"/>
                  </a:cubicBezTo>
                  <a:cubicBezTo>
                    <a:pt x="86" y="122"/>
                    <a:pt x="95" y="118"/>
                    <a:pt x="102" y="110"/>
                  </a:cubicBezTo>
                  <a:cubicBezTo>
                    <a:pt x="108" y="102"/>
                    <a:pt x="112" y="90"/>
                    <a:pt x="112" y="7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9" name="Freeform 58"/>
            <p:cNvSpPr>
              <a:spLocks/>
            </p:cNvSpPr>
            <p:nvPr userDrawn="1"/>
          </p:nvSpPr>
          <p:spPr bwMode="auto">
            <a:xfrm>
              <a:off x="4135438" y="2617788"/>
              <a:ext cx="203200" cy="233363"/>
            </a:xfrm>
            <a:custGeom>
              <a:avLst/>
              <a:gdLst>
                <a:gd name="T0" fmla="*/ 93 w 125"/>
                <a:gd name="T1" fmla="*/ 140 h 144"/>
                <a:gd name="T2" fmla="*/ 93 w 125"/>
                <a:gd name="T3" fmla="*/ 119 h 144"/>
                <a:gd name="T4" fmla="*/ 93 w 125"/>
                <a:gd name="T5" fmla="*/ 119 h 144"/>
                <a:gd name="T6" fmla="*/ 75 w 125"/>
                <a:gd name="T7" fmla="*/ 137 h 144"/>
                <a:gd name="T8" fmla="*/ 50 w 125"/>
                <a:gd name="T9" fmla="*/ 144 h 144"/>
                <a:gd name="T10" fmla="*/ 13 w 125"/>
                <a:gd name="T11" fmla="*/ 129 h 144"/>
                <a:gd name="T12" fmla="*/ 0 w 125"/>
                <a:gd name="T13" fmla="*/ 85 h 144"/>
                <a:gd name="T14" fmla="*/ 0 w 125"/>
                <a:gd name="T15" fmla="*/ 0 h 144"/>
                <a:gd name="T16" fmla="*/ 32 w 125"/>
                <a:gd name="T17" fmla="*/ 0 h 144"/>
                <a:gd name="T18" fmla="*/ 32 w 125"/>
                <a:gd name="T19" fmla="*/ 81 h 144"/>
                <a:gd name="T20" fmla="*/ 61 w 125"/>
                <a:gd name="T21" fmla="*/ 118 h 144"/>
                <a:gd name="T22" fmla="*/ 85 w 125"/>
                <a:gd name="T23" fmla="*/ 108 h 144"/>
                <a:gd name="T24" fmla="*/ 93 w 125"/>
                <a:gd name="T25" fmla="*/ 81 h 144"/>
                <a:gd name="T26" fmla="*/ 93 w 125"/>
                <a:gd name="T27" fmla="*/ 0 h 144"/>
                <a:gd name="T28" fmla="*/ 125 w 125"/>
                <a:gd name="T29" fmla="*/ 0 h 144"/>
                <a:gd name="T30" fmla="*/ 125 w 125"/>
                <a:gd name="T31" fmla="*/ 140 h 144"/>
                <a:gd name="T32" fmla="*/ 93 w 125"/>
                <a:gd name="T33" fmla="*/ 14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0"/>
                  </a:move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88" y="127"/>
                    <a:pt x="83" y="133"/>
                    <a:pt x="75" y="137"/>
                  </a:cubicBezTo>
                  <a:cubicBezTo>
                    <a:pt x="68" y="142"/>
                    <a:pt x="60" y="144"/>
                    <a:pt x="50" y="144"/>
                  </a:cubicBezTo>
                  <a:cubicBezTo>
                    <a:pt x="34" y="144"/>
                    <a:pt x="21" y="139"/>
                    <a:pt x="13" y="129"/>
                  </a:cubicBezTo>
                  <a:cubicBezTo>
                    <a:pt x="4" y="119"/>
                    <a:pt x="0" y="105"/>
                    <a:pt x="0" y="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106"/>
                    <a:pt x="42" y="118"/>
                    <a:pt x="61" y="118"/>
                  </a:cubicBezTo>
                  <a:cubicBezTo>
                    <a:pt x="71" y="118"/>
                    <a:pt x="79" y="115"/>
                    <a:pt x="85" y="108"/>
                  </a:cubicBezTo>
                  <a:cubicBezTo>
                    <a:pt x="90" y="101"/>
                    <a:pt x="93" y="92"/>
                    <a:pt x="93" y="8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0"/>
                    <a:pt x="125" y="140"/>
                    <a:pt x="125" y="140"/>
                  </a:cubicBezTo>
                  <a:lnTo>
                    <a:pt x="93" y="14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0" name="Freeform 59"/>
            <p:cNvSpPr>
              <a:spLocks/>
            </p:cNvSpPr>
            <p:nvPr userDrawn="1"/>
          </p:nvSpPr>
          <p:spPr bwMode="auto">
            <a:xfrm>
              <a:off x="4392613" y="2611438"/>
              <a:ext cx="150813" cy="239713"/>
            </a:xfrm>
            <a:custGeom>
              <a:avLst/>
              <a:gdLst>
                <a:gd name="T0" fmla="*/ 93 w 93"/>
                <a:gd name="T1" fmla="*/ 104 h 148"/>
                <a:gd name="T2" fmla="*/ 78 w 93"/>
                <a:gd name="T3" fmla="*/ 136 h 148"/>
                <a:gd name="T4" fmla="*/ 37 w 93"/>
                <a:gd name="T5" fmla="*/ 148 h 148"/>
                <a:gd name="T6" fmla="*/ 18 w 93"/>
                <a:gd name="T7" fmla="*/ 146 h 148"/>
                <a:gd name="T8" fmla="*/ 0 w 93"/>
                <a:gd name="T9" fmla="*/ 140 h 148"/>
                <a:gd name="T10" fmla="*/ 0 w 93"/>
                <a:gd name="T11" fmla="*/ 110 h 148"/>
                <a:gd name="T12" fmla="*/ 19 w 93"/>
                <a:gd name="T13" fmla="*/ 120 h 148"/>
                <a:gd name="T14" fmla="*/ 38 w 93"/>
                <a:gd name="T15" fmla="*/ 123 h 148"/>
                <a:gd name="T16" fmla="*/ 61 w 93"/>
                <a:gd name="T17" fmla="*/ 108 h 148"/>
                <a:gd name="T18" fmla="*/ 59 w 93"/>
                <a:gd name="T19" fmla="*/ 99 h 148"/>
                <a:gd name="T20" fmla="*/ 51 w 93"/>
                <a:gd name="T21" fmla="*/ 93 h 148"/>
                <a:gd name="T22" fmla="*/ 34 w 93"/>
                <a:gd name="T23" fmla="*/ 85 h 148"/>
                <a:gd name="T24" fmla="*/ 13 w 93"/>
                <a:gd name="T25" fmla="*/ 73 h 148"/>
                <a:gd name="T26" fmla="*/ 3 w 93"/>
                <a:gd name="T27" fmla="*/ 61 h 148"/>
                <a:gd name="T28" fmla="*/ 0 w 93"/>
                <a:gd name="T29" fmla="*/ 43 h 148"/>
                <a:gd name="T30" fmla="*/ 15 w 93"/>
                <a:gd name="T31" fmla="*/ 12 h 148"/>
                <a:gd name="T32" fmla="*/ 54 w 93"/>
                <a:gd name="T33" fmla="*/ 0 h 148"/>
                <a:gd name="T34" fmla="*/ 70 w 93"/>
                <a:gd name="T35" fmla="*/ 2 h 148"/>
                <a:gd name="T36" fmla="*/ 85 w 93"/>
                <a:gd name="T37" fmla="*/ 6 h 148"/>
                <a:gd name="T38" fmla="*/ 85 w 93"/>
                <a:gd name="T39" fmla="*/ 35 h 148"/>
                <a:gd name="T40" fmla="*/ 70 w 93"/>
                <a:gd name="T41" fmla="*/ 28 h 148"/>
                <a:gd name="T42" fmla="*/ 53 w 93"/>
                <a:gd name="T43" fmla="*/ 25 h 148"/>
                <a:gd name="T44" fmla="*/ 38 w 93"/>
                <a:gd name="T45" fmla="*/ 30 h 148"/>
                <a:gd name="T46" fmla="*/ 32 w 93"/>
                <a:gd name="T47" fmla="*/ 40 h 148"/>
                <a:gd name="T48" fmla="*/ 37 w 93"/>
                <a:gd name="T49" fmla="*/ 52 h 148"/>
                <a:gd name="T50" fmla="*/ 57 w 93"/>
                <a:gd name="T51" fmla="*/ 63 h 148"/>
                <a:gd name="T52" fmla="*/ 85 w 93"/>
                <a:gd name="T53" fmla="*/ 80 h 148"/>
                <a:gd name="T54" fmla="*/ 93 w 93"/>
                <a:gd name="T55" fmla="*/ 10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48">
                  <a:moveTo>
                    <a:pt x="93" y="104"/>
                  </a:moveTo>
                  <a:cubicBezTo>
                    <a:pt x="93" y="117"/>
                    <a:pt x="88" y="128"/>
                    <a:pt x="78" y="136"/>
                  </a:cubicBezTo>
                  <a:cubicBezTo>
                    <a:pt x="68" y="144"/>
                    <a:pt x="54" y="148"/>
                    <a:pt x="37" y="148"/>
                  </a:cubicBezTo>
                  <a:cubicBezTo>
                    <a:pt x="31" y="148"/>
                    <a:pt x="25" y="147"/>
                    <a:pt x="18" y="146"/>
                  </a:cubicBezTo>
                  <a:cubicBezTo>
                    <a:pt x="11" y="144"/>
                    <a:pt x="5" y="142"/>
                    <a:pt x="0" y="14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6" y="114"/>
                    <a:pt x="12" y="117"/>
                    <a:pt x="19" y="120"/>
                  </a:cubicBezTo>
                  <a:cubicBezTo>
                    <a:pt x="26" y="122"/>
                    <a:pt x="33" y="123"/>
                    <a:pt x="38" y="123"/>
                  </a:cubicBezTo>
                  <a:cubicBezTo>
                    <a:pt x="53" y="123"/>
                    <a:pt x="61" y="118"/>
                    <a:pt x="61" y="108"/>
                  </a:cubicBezTo>
                  <a:cubicBezTo>
                    <a:pt x="61" y="104"/>
                    <a:pt x="60" y="102"/>
                    <a:pt x="59" y="99"/>
                  </a:cubicBezTo>
                  <a:cubicBezTo>
                    <a:pt x="57" y="97"/>
                    <a:pt x="55" y="95"/>
                    <a:pt x="51" y="93"/>
                  </a:cubicBezTo>
                  <a:cubicBezTo>
                    <a:pt x="47" y="91"/>
                    <a:pt x="41" y="88"/>
                    <a:pt x="34" y="85"/>
                  </a:cubicBezTo>
                  <a:cubicBezTo>
                    <a:pt x="24" y="81"/>
                    <a:pt x="18" y="77"/>
                    <a:pt x="13" y="73"/>
                  </a:cubicBezTo>
                  <a:cubicBezTo>
                    <a:pt x="9" y="70"/>
                    <a:pt x="5" y="65"/>
                    <a:pt x="3" y="61"/>
                  </a:cubicBezTo>
                  <a:cubicBezTo>
                    <a:pt x="1" y="56"/>
                    <a:pt x="0" y="50"/>
                    <a:pt x="0" y="43"/>
                  </a:cubicBezTo>
                  <a:cubicBezTo>
                    <a:pt x="0" y="31"/>
                    <a:pt x="5" y="20"/>
                    <a:pt x="15" y="12"/>
                  </a:cubicBezTo>
                  <a:cubicBezTo>
                    <a:pt x="25" y="4"/>
                    <a:pt x="38" y="0"/>
                    <a:pt x="54" y="0"/>
                  </a:cubicBezTo>
                  <a:cubicBezTo>
                    <a:pt x="59" y="0"/>
                    <a:pt x="64" y="1"/>
                    <a:pt x="70" y="2"/>
                  </a:cubicBezTo>
                  <a:cubicBezTo>
                    <a:pt x="77" y="3"/>
                    <a:pt x="82" y="5"/>
                    <a:pt x="85" y="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1" y="32"/>
                    <a:pt x="76" y="30"/>
                    <a:pt x="70" y="28"/>
                  </a:cubicBezTo>
                  <a:cubicBezTo>
                    <a:pt x="64" y="26"/>
                    <a:pt x="58" y="25"/>
                    <a:pt x="53" y="25"/>
                  </a:cubicBezTo>
                  <a:cubicBezTo>
                    <a:pt x="46" y="25"/>
                    <a:pt x="41" y="27"/>
                    <a:pt x="38" y="30"/>
                  </a:cubicBezTo>
                  <a:cubicBezTo>
                    <a:pt x="34" y="32"/>
                    <a:pt x="32" y="36"/>
                    <a:pt x="32" y="40"/>
                  </a:cubicBezTo>
                  <a:cubicBezTo>
                    <a:pt x="32" y="45"/>
                    <a:pt x="34" y="49"/>
                    <a:pt x="37" y="52"/>
                  </a:cubicBezTo>
                  <a:cubicBezTo>
                    <a:pt x="39" y="55"/>
                    <a:pt x="46" y="58"/>
                    <a:pt x="57" y="63"/>
                  </a:cubicBezTo>
                  <a:cubicBezTo>
                    <a:pt x="70" y="68"/>
                    <a:pt x="79" y="74"/>
                    <a:pt x="85" y="80"/>
                  </a:cubicBezTo>
                  <a:cubicBezTo>
                    <a:pt x="90" y="87"/>
                    <a:pt x="93" y="95"/>
                    <a:pt x="93" y="10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1" name="Freeform 60"/>
            <p:cNvSpPr>
              <a:spLocks noEditPoints="1"/>
            </p:cNvSpPr>
            <p:nvPr userDrawn="1"/>
          </p:nvSpPr>
          <p:spPr bwMode="auto">
            <a:xfrm>
              <a:off x="4576763" y="2611438"/>
              <a:ext cx="207963" cy="239713"/>
            </a:xfrm>
            <a:custGeom>
              <a:avLst/>
              <a:gdLst>
                <a:gd name="T0" fmla="*/ 33 w 129"/>
                <a:gd name="T1" fmla="*/ 83 h 148"/>
                <a:gd name="T2" fmla="*/ 44 w 129"/>
                <a:gd name="T3" fmla="*/ 113 h 148"/>
                <a:gd name="T4" fmla="*/ 75 w 129"/>
                <a:gd name="T5" fmla="*/ 123 h 148"/>
                <a:gd name="T6" fmla="*/ 98 w 129"/>
                <a:gd name="T7" fmla="*/ 119 h 148"/>
                <a:gd name="T8" fmla="*/ 117 w 129"/>
                <a:gd name="T9" fmla="*/ 109 h 148"/>
                <a:gd name="T10" fmla="*/ 117 w 129"/>
                <a:gd name="T11" fmla="*/ 136 h 148"/>
                <a:gd name="T12" fmla="*/ 96 w 129"/>
                <a:gd name="T13" fmla="*/ 145 h 148"/>
                <a:gd name="T14" fmla="*/ 67 w 129"/>
                <a:gd name="T15" fmla="*/ 148 h 148"/>
                <a:gd name="T16" fmla="*/ 18 w 129"/>
                <a:gd name="T17" fmla="*/ 129 h 148"/>
                <a:gd name="T18" fmla="*/ 0 w 129"/>
                <a:gd name="T19" fmla="*/ 76 h 148"/>
                <a:gd name="T20" fmla="*/ 9 w 129"/>
                <a:gd name="T21" fmla="*/ 36 h 148"/>
                <a:gd name="T22" fmla="*/ 33 w 129"/>
                <a:gd name="T23" fmla="*/ 10 h 148"/>
                <a:gd name="T24" fmla="*/ 67 w 129"/>
                <a:gd name="T25" fmla="*/ 0 h 148"/>
                <a:gd name="T26" fmla="*/ 112 w 129"/>
                <a:gd name="T27" fmla="*/ 18 h 148"/>
                <a:gd name="T28" fmla="*/ 129 w 129"/>
                <a:gd name="T29" fmla="*/ 68 h 148"/>
                <a:gd name="T30" fmla="*/ 129 w 129"/>
                <a:gd name="T31" fmla="*/ 83 h 148"/>
                <a:gd name="T32" fmla="*/ 33 w 129"/>
                <a:gd name="T33" fmla="*/ 83 h 148"/>
                <a:gd name="T34" fmla="*/ 97 w 129"/>
                <a:gd name="T35" fmla="*/ 60 h 148"/>
                <a:gd name="T36" fmla="*/ 89 w 129"/>
                <a:gd name="T37" fmla="*/ 34 h 148"/>
                <a:gd name="T38" fmla="*/ 67 w 129"/>
                <a:gd name="T39" fmla="*/ 25 h 148"/>
                <a:gd name="T40" fmla="*/ 45 w 129"/>
                <a:gd name="T41" fmla="*/ 35 h 148"/>
                <a:gd name="T42" fmla="*/ 33 w 129"/>
                <a:gd name="T43" fmla="*/ 60 h 148"/>
                <a:gd name="T44" fmla="*/ 97 w 129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148">
                  <a:moveTo>
                    <a:pt x="33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2" y="119"/>
                    <a:pt x="62" y="123"/>
                    <a:pt x="75" y="123"/>
                  </a:cubicBezTo>
                  <a:cubicBezTo>
                    <a:pt x="83" y="123"/>
                    <a:pt x="91" y="122"/>
                    <a:pt x="98" y="119"/>
                  </a:cubicBezTo>
                  <a:cubicBezTo>
                    <a:pt x="105" y="116"/>
                    <a:pt x="112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40"/>
                    <a:pt x="105" y="142"/>
                    <a:pt x="96" y="145"/>
                  </a:cubicBezTo>
                  <a:cubicBezTo>
                    <a:pt x="87" y="147"/>
                    <a:pt x="77" y="148"/>
                    <a:pt x="67" y="148"/>
                  </a:cubicBezTo>
                  <a:cubicBezTo>
                    <a:pt x="46" y="148"/>
                    <a:pt x="30" y="142"/>
                    <a:pt x="18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9" y="36"/>
                  </a:cubicBezTo>
                  <a:cubicBezTo>
                    <a:pt x="15" y="25"/>
                    <a:pt x="23" y="16"/>
                    <a:pt x="33" y="10"/>
                  </a:cubicBezTo>
                  <a:cubicBezTo>
                    <a:pt x="43" y="4"/>
                    <a:pt x="55" y="0"/>
                    <a:pt x="67" y="0"/>
                  </a:cubicBezTo>
                  <a:cubicBezTo>
                    <a:pt x="87" y="0"/>
                    <a:pt x="102" y="6"/>
                    <a:pt x="112" y="18"/>
                  </a:cubicBezTo>
                  <a:cubicBezTo>
                    <a:pt x="123" y="30"/>
                    <a:pt x="129" y="47"/>
                    <a:pt x="129" y="68"/>
                  </a:cubicBezTo>
                  <a:cubicBezTo>
                    <a:pt x="129" y="83"/>
                    <a:pt x="129" y="83"/>
                    <a:pt x="129" y="83"/>
                  </a:cubicBezTo>
                  <a:lnTo>
                    <a:pt x="33" y="83"/>
                  </a:lnTo>
                  <a:close/>
                  <a:moveTo>
                    <a:pt x="97" y="60"/>
                  </a:moveTo>
                  <a:cubicBezTo>
                    <a:pt x="97" y="48"/>
                    <a:pt x="94" y="40"/>
                    <a:pt x="89" y="34"/>
                  </a:cubicBezTo>
                  <a:cubicBezTo>
                    <a:pt x="84" y="28"/>
                    <a:pt x="77" y="25"/>
                    <a:pt x="67" y="25"/>
                  </a:cubicBezTo>
                  <a:cubicBezTo>
                    <a:pt x="59" y="25"/>
                    <a:pt x="51" y="28"/>
                    <a:pt x="45" y="35"/>
                  </a:cubicBezTo>
                  <a:cubicBezTo>
                    <a:pt x="38" y="41"/>
                    <a:pt x="34" y="49"/>
                    <a:pt x="33" y="60"/>
                  </a:cubicBezTo>
                  <a:lnTo>
                    <a:pt x="97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32" name="Group 131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133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4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5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6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7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8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9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0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1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2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3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4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9525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5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6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7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48" name="Group 147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149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0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1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2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3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4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5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6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9709935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5928E-6 -1.32547E-6 L 0.06932 0.00023 " pathEditMode="relative" rAng="0" ptsTypes="AA">
                                      <p:cBhvr>
                                        <p:cTn id="17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9599E-6 -8.17068E-7 L 0.06931 0.00023 " pathEditMode="relative" rAng="0" ptsTypes="AA">
                                      <p:cBhvr>
                                        <p:cTn id="19" dur="12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24" dur="12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1" grpId="1" animBg="1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981195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invGray">
          <a:xfrm>
            <a:off x="449820" y="471738"/>
            <a:ext cx="2135184" cy="456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029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820" y="471124"/>
            <a:ext cx="2134206" cy="45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7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377023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8"/>
            <a:ext cx="5826760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313333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28781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6865440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1647952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03835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164795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068897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25067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059970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388293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229955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520228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770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31553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| Sub  -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2"/>
            <a:ext cx="6125968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9241" y="1803528"/>
            <a:ext cx="612556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6545770" y="0"/>
            <a:ext cx="564623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96420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57948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Sub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7683" y="1710608"/>
            <a:ext cx="11877629" cy="1644641"/>
          </a:xfrm>
        </p:spPr>
        <p:txBody>
          <a:bodyPr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135823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778861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9859116" cy="1874884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8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3" y="291069"/>
            <a:ext cx="1563248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20" b="1">
                <a:solidFill>
                  <a:schemeClr val="bg1"/>
                </a:solidFill>
              </a:rPr>
              <a:t>demo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320106" y="1337045"/>
            <a:ext cx="362136" cy="6220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marL="0" marR="0" lvl="0" indent="0" defTabSz="89621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16000">
                    <a:srgbClr val="FFFFFF">
                      <a:alpha val="90000"/>
                    </a:srgbClr>
                  </a:gs>
                  <a:gs pos="90000">
                    <a:srgbClr val="FFFFFF">
                      <a:alpha val="90000"/>
                    </a:srgbClr>
                  </a:gs>
                </a:gsLst>
                <a:lin ang="16200000" scaled="0"/>
              </a:gradFill>
              <a:effectLst/>
              <a:uLnTx/>
              <a:uFillTx/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57811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4577398" cy="1874884"/>
          </a:xfrm>
          <a:noFill/>
        </p:spPr>
        <p:txBody>
          <a:bodyPr tIns="91440" bIns="91440" anchor="t" anchorCtr="0"/>
          <a:lstStyle>
            <a:lvl1pPr>
              <a:defRPr sz="7054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9"/>
            <a:ext cx="4578121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2" y="291069"/>
            <a:ext cx="1516762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19" b="1">
                <a:solidFill>
                  <a:schemeClr val="bg1"/>
                </a:solidFill>
              </a:rPr>
              <a:t>video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038" y="1705680"/>
            <a:ext cx="6218237" cy="360826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977017" y="864543"/>
            <a:ext cx="5083622" cy="5389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1765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rPr>
              <a:t>Analytics &amp; Business Intelligence Partner Airlift</a:t>
            </a:r>
            <a:endParaRPr lang="en-US" sz="2353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1650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9859116" cy="1874884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8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2" y="291069"/>
            <a:ext cx="1516762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20" b="1">
                <a:solidFill>
                  <a:schemeClr val="bg1"/>
                </a:solidFill>
              </a:rPr>
              <a:t>video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977017" y="864543"/>
            <a:ext cx="5083622" cy="5389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1765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rPr>
              <a:t>Analytics &amp; Business Intelligence Partner Airlift</a:t>
            </a:r>
            <a:endParaRPr lang="en-US" sz="2353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2259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457736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588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51097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6469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979639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1250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661545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5609388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1598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32860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invGray">
          <a:xfrm>
            <a:off x="353714" y="3134846"/>
            <a:ext cx="3320351" cy="709743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/>
        </p:nvSpPr>
        <p:spPr bwMode="blackWhite">
          <a:xfrm>
            <a:off x="194537" y="5296816"/>
            <a:ext cx="10758655" cy="44812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1028">
                <a:gradFill>
                  <a:gsLst>
                    <a:gs pos="7500">
                      <a:schemeClr val="tx1"/>
                    </a:gs>
                    <a:gs pos="19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13957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1015471"/>
            <a:ext cx="11709400" cy="51706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850444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| Sub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7684" y="1710608"/>
            <a:ext cx="5833712" cy="1644641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709329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 Accent Col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328425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588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Key takeaway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2457736"/>
            <a:ext cx="5378549" cy="1644641"/>
          </a:xfrm>
        </p:spPr>
        <p:txBody>
          <a:bodyPr lIns="603504"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946596" y="2457736"/>
            <a:ext cx="5976166" cy="1644641"/>
          </a:xfrm>
        </p:spPr>
        <p:txBody>
          <a:bodyPr lIns="603504"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94534" y="1710609"/>
            <a:ext cx="1120533" cy="954326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4704">
                <a:solidFill>
                  <a:srgbClr val="3C6F82"/>
                </a:solidFill>
                <a:cs typeface="Segoe UI Semilight" panose="020B0402040204020203" pitchFamily="34" charset="0"/>
              </a:rPr>
              <a:t>01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795635" y="1710609"/>
            <a:ext cx="1419339" cy="954326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4704">
                <a:solidFill>
                  <a:srgbClr val="3C6F82"/>
                </a:solidFill>
                <a:cs typeface="Segoe UI Semilight" panose="020B0402040204020203" pitchFamily="34" charset="0"/>
              </a:rPr>
              <a:t>02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4443" y="2457736"/>
            <a:ext cx="821723" cy="0"/>
          </a:xfrm>
          <a:prstGeom prst="line">
            <a:avLst/>
          </a:prstGeom>
          <a:ln w="38100">
            <a:solidFill>
              <a:srgbClr val="36678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343939" y="2457736"/>
            <a:ext cx="821723" cy="0"/>
          </a:xfrm>
          <a:prstGeom prst="line">
            <a:avLst/>
          </a:prstGeom>
          <a:ln w="38100">
            <a:solidFill>
              <a:srgbClr val="36678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2550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2467539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1" y="3145041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8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59" tIns="143409" rIns="179259" bIns="14340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2791436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58249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5692890" cy="102287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942155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786965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believ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391182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406412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7" grpId="2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9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18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1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29.xml"/><Relationship Id="rId21" Type="http://schemas.openxmlformats.org/officeDocument/2006/relationships/image" Target="../media/image27.png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242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36.xml"/><Relationship Id="rId19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50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49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6.xml"/><Relationship Id="rId18" Type="http://schemas.openxmlformats.org/officeDocument/2006/relationships/slideLayout" Target="../slideLayouts/slideLayout271.xml"/><Relationship Id="rId26" Type="http://schemas.openxmlformats.org/officeDocument/2006/relationships/slideLayout" Target="../slideLayouts/slideLayout279.xml"/><Relationship Id="rId3" Type="http://schemas.openxmlformats.org/officeDocument/2006/relationships/slideLayout" Target="../slideLayouts/slideLayout256.xml"/><Relationship Id="rId21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17" Type="http://schemas.openxmlformats.org/officeDocument/2006/relationships/slideLayout" Target="../slideLayouts/slideLayout270.xml"/><Relationship Id="rId25" Type="http://schemas.openxmlformats.org/officeDocument/2006/relationships/slideLayout" Target="../slideLayouts/slideLayout278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55.xml"/><Relationship Id="rId16" Type="http://schemas.openxmlformats.org/officeDocument/2006/relationships/slideLayout" Target="../slideLayouts/slideLayout269.xml"/><Relationship Id="rId20" Type="http://schemas.openxmlformats.org/officeDocument/2006/relationships/slideLayout" Target="../slideLayouts/slideLayout273.xml"/><Relationship Id="rId29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24" Type="http://schemas.openxmlformats.org/officeDocument/2006/relationships/slideLayout" Target="../slideLayouts/slideLayout277.xml"/><Relationship Id="rId32" Type="http://schemas.openxmlformats.org/officeDocument/2006/relationships/image" Target="../media/image33.png"/><Relationship Id="rId5" Type="http://schemas.openxmlformats.org/officeDocument/2006/relationships/slideLayout" Target="../slideLayouts/slideLayout258.xml"/><Relationship Id="rId15" Type="http://schemas.openxmlformats.org/officeDocument/2006/relationships/slideLayout" Target="../slideLayouts/slideLayout268.xml"/><Relationship Id="rId23" Type="http://schemas.openxmlformats.org/officeDocument/2006/relationships/slideLayout" Target="../slideLayouts/slideLayout276.xml"/><Relationship Id="rId28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63.xml"/><Relationship Id="rId19" Type="http://schemas.openxmlformats.org/officeDocument/2006/relationships/slideLayout" Target="../slideLayouts/slideLayout272.xml"/><Relationship Id="rId31" Type="http://schemas.openxmlformats.org/officeDocument/2006/relationships/theme" Target="../theme/theme15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slideLayout" Target="../slideLayouts/slideLayout267.xml"/><Relationship Id="rId22" Type="http://schemas.openxmlformats.org/officeDocument/2006/relationships/slideLayout" Target="../slideLayouts/slideLayout275.xml"/><Relationship Id="rId27" Type="http://schemas.openxmlformats.org/officeDocument/2006/relationships/slideLayout" Target="../slideLayouts/slideLayout280.xml"/><Relationship Id="rId30" Type="http://schemas.openxmlformats.org/officeDocument/2006/relationships/slideLayout" Target="../slideLayouts/slideLayout283.xml"/><Relationship Id="rId8" Type="http://schemas.openxmlformats.org/officeDocument/2006/relationships/slideLayout" Target="../slideLayouts/slideLayout26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slideLayout" Target="../slideLayouts/slideLayout301.xml"/><Relationship Id="rId26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slideLayout" Target="../slideLayouts/slideLayout300.xml"/><Relationship Id="rId25" Type="http://schemas.openxmlformats.org/officeDocument/2006/relationships/slideLayout" Target="../slideLayouts/slideLayout308.xml"/><Relationship Id="rId2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2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24" Type="http://schemas.openxmlformats.org/officeDocument/2006/relationships/slideLayout" Target="../slideLayouts/slideLayout307.xml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23" Type="http://schemas.openxmlformats.org/officeDocument/2006/relationships/slideLayout" Target="../slideLayouts/slideLayout306.xml"/><Relationship Id="rId28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293.xml"/><Relationship Id="rId19" Type="http://schemas.openxmlformats.org/officeDocument/2006/relationships/slideLayout" Target="../slideLayouts/slideLayout302.xml"/><Relationship Id="rId31" Type="http://schemas.openxmlformats.org/officeDocument/2006/relationships/image" Target="../media/image29.emf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Relationship Id="rId22" Type="http://schemas.openxmlformats.org/officeDocument/2006/relationships/slideLayout" Target="../slideLayouts/slideLayout305.xml"/><Relationship Id="rId27" Type="http://schemas.openxmlformats.org/officeDocument/2006/relationships/slideLayout" Target="../slideLayouts/slideLayout310.xml"/><Relationship Id="rId30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slideLayout" Target="../slideLayouts/slideLayout325.xml"/><Relationship Id="rId18" Type="http://schemas.openxmlformats.org/officeDocument/2006/relationships/slideLayout" Target="../slideLayouts/slideLayout330.xml"/><Relationship Id="rId3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4.xml"/><Relationship Id="rId17" Type="http://schemas.openxmlformats.org/officeDocument/2006/relationships/slideLayout" Target="../slideLayouts/slideLayout329.xml"/><Relationship Id="rId2" Type="http://schemas.openxmlformats.org/officeDocument/2006/relationships/slideLayout" Target="../slideLayouts/slideLayout314.xml"/><Relationship Id="rId16" Type="http://schemas.openxmlformats.org/officeDocument/2006/relationships/slideLayout" Target="../slideLayouts/slideLayout32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5" Type="http://schemas.openxmlformats.org/officeDocument/2006/relationships/slideLayout" Target="../slideLayouts/slideLayout317.xml"/><Relationship Id="rId15" Type="http://schemas.openxmlformats.org/officeDocument/2006/relationships/slideLayout" Target="../slideLayouts/slideLayout327.xml"/><Relationship Id="rId10" Type="http://schemas.openxmlformats.org/officeDocument/2006/relationships/slideLayout" Target="../slideLayouts/slideLayout322.xml"/><Relationship Id="rId19" Type="http://schemas.openxmlformats.org/officeDocument/2006/relationships/theme" Target="../theme/theme17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Relationship Id="rId14" Type="http://schemas.openxmlformats.org/officeDocument/2006/relationships/slideLayout" Target="../slideLayouts/slideLayout32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8.xml"/><Relationship Id="rId13" Type="http://schemas.openxmlformats.org/officeDocument/2006/relationships/slideLayout" Target="../slideLayouts/slideLayout343.xml"/><Relationship Id="rId3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337.xml"/><Relationship Id="rId12" Type="http://schemas.openxmlformats.org/officeDocument/2006/relationships/slideLayout" Target="../slideLayouts/slideLayout342.xml"/><Relationship Id="rId2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9.xml"/><Relationship Id="rId14" Type="http://schemas.openxmlformats.org/officeDocument/2006/relationships/theme" Target="../theme/theme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9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2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slideLayout" Target="../slideLayouts/slideLayout94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image" Target="../media/image19.png"/><Relationship Id="rId8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1.xml"/><Relationship Id="rId21" Type="http://schemas.openxmlformats.org/officeDocument/2006/relationships/image" Target="../media/image27.png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26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5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29" Type="http://schemas.openxmlformats.org/officeDocument/2006/relationships/theme" Target="../theme/theme9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slideLayout" Target="../slideLayouts/slideLayout181.xml"/><Relationship Id="rId28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180.xml"/><Relationship Id="rId27" Type="http://schemas.openxmlformats.org/officeDocument/2006/relationships/slideLayout" Target="../slideLayouts/slideLayout185.xml"/><Relationship Id="rId30" Type="http://schemas.openxmlformats.org/officeDocument/2006/relationships/image" Target="../media/image2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1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1" cy="232858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 rot="5400000">
            <a:off x="9187081" y="3012391"/>
            <a:ext cx="6858623" cy="833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735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</p:sldLayoutIdLst>
  <p:transition>
    <p:fade/>
  </p:transition>
  <p:txStyles>
    <p:titleStyle>
      <a:lvl1pPr algn="l" defTabSz="914344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2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82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74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64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55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446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9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2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964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4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6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2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3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378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F721487-8B7F-493B-8B57-62BA49E7B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54DF15-FA05-4A0F-8473-3C4660A5C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FE8759-22C2-468C-A375-06EB61BBC1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E64FB3-BD4F-4CB3-9479-4360403CE383}" type="datetimeFigureOut">
              <a:rPr lang="en-US" smtClean="0"/>
              <a:t>6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63FC92-B2A4-4CC8-A0C7-B966B0955B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AB0586-BA76-4E19-8CCC-FB785A071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2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</p:sldLayoutIdLst>
  <p:txStyles>
    <p:titleStyle>
      <a:lvl1pPr algn="l" defTabSz="913951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87" indent="-228487" algn="l" defTabSz="91395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462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438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413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388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364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39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312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87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51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26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90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7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51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2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80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80" y="3012392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291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  <p:sldLayoutId id="2147483912" r:id="rId15"/>
    <p:sldLayoutId id="2147483913" r:id="rId16"/>
    <p:sldLayoutId id="2147483914" r:id="rId17"/>
    <p:sldLayoutId id="2147483915" r:id="rId18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30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59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088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1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14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208749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268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44" marR="0" indent="-336044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19" marR="0" indent="-236475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03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132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161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9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813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</p:sldLayoutIdLst>
  <p:transition>
    <p:fade/>
  </p:transition>
  <p:txStyles>
    <p:titleStyle>
      <a:lvl1pPr algn="l" defTabSz="913918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79" marR="0" indent="-335979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09" marR="0" indent="-236429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3952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7939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1924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27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3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91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9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391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6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4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3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1752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871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567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C9B1B5-B09F-4B98-AFC2-1B4B55BE018E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 rot="5400000">
            <a:off x="9044629" y="3216843"/>
            <a:ext cx="6858000" cy="42431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224112"/>
            <a:ext cx="11336039" cy="74401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19" y="1110106"/>
            <a:ext cx="11336039" cy="20319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755482" y="3012080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02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  <p:sldLayoutId id="2147483980" r:id="rId19"/>
    <p:sldLayoutId id="2147483981" r:id="rId20"/>
    <p:sldLayoutId id="2147483982" r:id="rId21"/>
    <p:sldLayoutId id="2147483983" r:id="rId22"/>
    <p:sldLayoutId id="2147483984" r:id="rId23"/>
    <p:sldLayoutId id="2147483985" r:id="rId24"/>
    <p:sldLayoutId id="2147483986" r:id="rId25"/>
    <p:sldLayoutId id="2147483987" r:id="rId26"/>
    <p:sldLayoutId id="2147483988" r:id="rId27"/>
    <p:sldLayoutId id="2147483989" r:id="rId28"/>
    <p:sldLayoutId id="2147483990" r:id="rId29"/>
    <p:sldLayoutId id="2147483991" r:id="rId30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47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2745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68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  <p:sldLayoutId id="2147484007" r:id="rId15"/>
    <p:sldLayoutId id="2147484008" r:id="rId16"/>
    <p:sldLayoutId id="2147484009" r:id="rId17"/>
    <p:sldLayoutId id="2147484010" r:id="rId18"/>
    <p:sldLayoutId id="2147484011" r:id="rId19"/>
    <p:sldLayoutId id="2147484012" r:id="rId20"/>
    <p:sldLayoutId id="2147484013" r:id="rId21"/>
    <p:sldLayoutId id="2147484014" r:id="rId22"/>
    <p:sldLayoutId id="2147484015" r:id="rId23"/>
    <p:sldLayoutId id="2147484016" r:id="rId24"/>
    <p:sldLayoutId id="2147484017" r:id="rId25"/>
    <p:sldLayoutId id="2147484018" r:id="rId26"/>
    <p:sldLayoutId id="2147484019" r:id="rId27"/>
    <p:sldLayoutId id="2147484020" r:id="rId28"/>
    <p:sldLayoutId id="2147484021" r:id="rId2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547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3" r:id="rId11"/>
    <p:sldLayoutId id="2147484034" r:id="rId12"/>
    <p:sldLayoutId id="2147484035" r:id="rId13"/>
    <p:sldLayoutId id="2147484036" r:id="rId14"/>
    <p:sldLayoutId id="2147484037" r:id="rId15"/>
    <p:sldLayoutId id="2147484038" r:id="rId16"/>
    <p:sldLayoutId id="2147484039" r:id="rId17"/>
    <p:sldLayoutId id="2147484040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E8575F-D8DD-42A5-9FE8-047E715E5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C2D88A-0007-4284-9A51-F813D08A12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A36CD1-394F-46E4-B462-1E5100C0BC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4B1DD-D6C5-4790-BA5B-E6C4876836FA}" type="datetimeFigureOut">
              <a:rPr lang="en-IN" smtClean="0"/>
              <a:t>23-06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1F6F-A9D0-46B0-9303-8E37BDCED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E92A38-181F-4875-A52E-2B0896804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9931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6" y="334170"/>
            <a:ext cx="11573621" cy="892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6" y="1794669"/>
            <a:ext cx="11573621" cy="36096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59289" y="2932714"/>
            <a:ext cx="6724751" cy="859326"/>
          </a:xfrm>
          <a:prstGeom prst="rect">
            <a:avLst/>
          </a:prstGeom>
        </p:spPr>
      </p:pic>
      <p:pic>
        <p:nvPicPr>
          <p:cNvPr id="8" name="Picture 7" descr="https://upload.wikimedia.org/wikipedia/commons/thumb/9/96/Microsoft_logo_(2012).svg/2000px-Microsoft_logo_(2012).svg.png"/>
          <p:cNvPicPr/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54982" y="-401215"/>
            <a:ext cx="1143000" cy="2463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3183684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4" r:id="rId14"/>
  </p:sldLayoutIdLst>
  <p:txStyles>
    <p:titleStyle>
      <a:lvl1pPr algn="l" defTabSz="914225" rtl="0" eaLnBrk="1" latinLnBrk="0" hangingPunct="1">
        <a:lnSpc>
          <a:spcPct val="90000"/>
        </a:lnSpc>
        <a:spcBef>
          <a:spcPct val="0"/>
        </a:spcBef>
        <a:buNone/>
        <a:defRPr sz="5399" kern="1200">
          <a:solidFill>
            <a:schemeClr val="bg1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556" indent="-228556" algn="l" defTabSz="914225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668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781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599893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005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11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30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4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5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9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1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74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8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69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58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20" r:id="rId5"/>
    <p:sldLayoutId id="2147483723" r:id="rId6"/>
    <p:sldLayoutId id="2147483724" r:id="rId7"/>
    <p:sldLayoutId id="2147483757" r:id="rId8"/>
    <p:sldLayoutId id="2147483758" r:id="rId9"/>
    <p:sldLayoutId id="2147483817" r:id="rId10"/>
    <p:sldLayoutId id="2147483818" r:id="rId11"/>
    <p:sldLayoutId id="2147483819" r:id="rId12"/>
    <p:sldLayoutId id="2147483820" r:id="rId13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1" cy="164464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25052" y="1906414"/>
            <a:ext cx="4214127" cy="40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00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  <p:sldLayoutId id="2147483750" r:id="rId25"/>
    <p:sldLayoutId id="2147483751" r:id="rId26"/>
    <p:sldLayoutId id="2147483752" r:id="rId27"/>
    <p:sldLayoutId id="2147483753" r:id="rId28"/>
    <p:sldLayoutId id="2147483754" r:id="rId29"/>
    <p:sldLayoutId id="2147483755" r:id="rId30"/>
    <p:sldLayoutId id="2147483814" r:id="rId31"/>
    <p:sldLayoutId id="2147483815" r:id="rId32"/>
    <p:sldLayoutId id="2147483816" r:id="rId33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31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13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35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198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80" y="3012392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25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  <p:sldLayoutId id="2147483842" r:id="rId20"/>
    <p:sldLayoutId id="2147483843" r:id="rId21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30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59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088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1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14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4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1" y="1435505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88988" y="2942645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1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94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</p:sldLayoutIdLst>
  <p:transition>
    <p:fade/>
  </p:transition>
  <p:hf sldNum="0" hdr="0" ftr="0" dt="0"/>
  <p:txStyles>
    <p:titleStyle>
      <a:lvl1pPr algn="l" defTabSz="932462" rtl="0" eaLnBrk="1" latinLnBrk="0" hangingPunct="1">
        <a:lnSpc>
          <a:spcPct val="100000"/>
        </a:lnSpc>
        <a:spcBef>
          <a:spcPct val="0"/>
        </a:spcBef>
        <a:buNone/>
        <a:defRPr lang="en-US" sz="3599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31" marR="0" indent="-22853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063" marR="0" indent="-22853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028" marR="0" indent="-199965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710" marR="0" indent="-18092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631" marR="0" indent="-168225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270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3030503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96734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962966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66231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32462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98693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64924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331156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97387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63618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729850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jpg"/><Relationship Id="rId18" Type="http://schemas.openxmlformats.org/officeDocument/2006/relationships/image" Target="../media/image87.jpeg"/><Relationship Id="rId3" Type="http://schemas.openxmlformats.org/officeDocument/2006/relationships/image" Target="../media/image50.emf"/><Relationship Id="rId7" Type="http://schemas.openxmlformats.org/officeDocument/2006/relationships/image" Target="../media/image76.svg"/><Relationship Id="rId12" Type="http://schemas.openxmlformats.org/officeDocument/2006/relationships/image" Target="../media/image81.jpeg"/><Relationship Id="rId17" Type="http://schemas.openxmlformats.org/officeDocument/2006/relationships/image" Target="../media/image86.jpeg"/><Relationship Id="rId2" Type="http://schemas.openxmlformats.org/officeDocument/2006/relationships/image" Target="../media/image72.png"/><Relationship Id="rId16" Type="http://schemas.openxmlformats.org/officeDocument/2006/relationships/image" Target="../media/image85.jpeg"/><Relationship Id="rId1" Type="http://schemas.openxmlformats.org/officeDocument/2006/relationships/slideLayout" Target="../slideLayouts/slideLayout314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openxmlformats.org/officeDocument/2006/relationships/image" Target="../media/image74.svg"/><Relationship Id="rId15" Type="http://schemas.openxmlformats.org/officeDocument/2006/relationships/image" Target="../media/image84.jpeg"/><Relationship Id="rId10" Type="http://schemas.openxmlformats.org/officeDocument/2006/relationships/image" Target="../media/image79.jpeg"/><Relationship Id="rId19" Type="http://schemas.openxmlformats.org/officeDocument/2006/relationships/image" Target="../media/image88.jpeg"/><Relationship Id="rId4" Type="http://schemas.openxmlformats.org/officeDocument/2006/relationships/image" Target="../media/image73.png"/><Relationship Id="rId9" Type="http://schemas.openxmlformats.org/officeDocument/2006/relationships/image" Target="../media/image78.jpeg"/><Relationship Id="rId14" Type="http://schemas.openxmlformats.org/officeDocument/2006/relationships/image" Target="../media/image8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4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0.xml"/><Relationship Id="rId4" Type="http://schemas.openxmlformats.org/officeDocument/2006/relationships/image" Target="../media/image9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3" Type="http://schemas.openxmlformats.org/officeDocument/2006/relationships/image" Target="../media/image98.emf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0.xml"/><Relationship Id="rId6" Type="http://schemas.openxmlformats.org/officeDocument/2006/relationships/image" Target="../media/image74.svg"/><Relationship Id="rId5" Type="http://schemas.openxmlformats.org/officeDocument/2006/relationships/image" Target="../media/image100.png"/><Relationship Id="rId4" Type="http://schemas.openxmlformats.org/officeDocument/2006/relationships/image" Target="../media/image50.emf"/><Relationship Id="rId9" Type="http://schemas.openxmlformats.org/officeDocument/2006/relationships/image" Target="../media/image10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data-factory/connector-azure-sql-data-warehouse#use-polybase-to-load-data-into-azure-sql-data-warehouse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allery.technet.microsoft.com/Overview-of-Azure-c1be3942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emf"/><Relationship Id="rId13" Type="http://schemas.openxmlformats.org/officeDocument/2006/relationships/image" Target="../media/image113.emf"/><Relationship Id="rId3" Type="http://schemas.openxmlformats.org/officeDocument/2006/relationships/image" Target="../media/image104.emf"/><Relationship Id="rId7" Type="http://schemas.openxmlformats.org/officeDocument/2006/relationships/image" Target="../media/image108.emf"/><Relationship Id="rId12" Type="http://schemas.openxmlformats.org/officeDocument/2006/relationships/image" Target="../media/image112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07.emf"/><Relationship Id="rId11" Type="http://schemas.openxmlformats.org/officeDocument/2006/relationships/image" Target="../media/image111.emf"/><Relationship Id="rId5" Type="http://schemas.openxmlformats.org/officeDocument/2006/relationships/image" Target="../media/image106.emf"/><Relationship Id="rId15" Type="http://schemas.openxmlformats.org/officeDocument/2006/relationships/image" Target="../media/image93.png"/><Relationship Id="rId10" Type="http://schemas.openxmlformats.org/officeDocument/2006/relationships/image" Target="../media/image110.emf"/><Relationship Id="rId4" Type="http://schemas.openxmlformats.org/officeDocument/2006/relationships/image" Target="../media/image105.emf"/><Relationship Id="rId9" Type="http://schemas.openxmlformats.org/officeDocument/2006/relationships/image" Target="../media/image98.emf"/><Relationship Id="rId14" Type="http://schemas.openxmlformats.org/officeDocument/2006/relationships/image" Target="../media/image9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emf"/><Relationship Id="rId13" Type="http://schemas.openxmlformats.org/officeDocument/2006/relationships/image" Target="../media/image98.emf"/><Relationship Id="rId18" Type="http://schemas.openxmlformats.org/officeDocument/2006/relationships/image" Target="../media/image92.png"/><Relationship Id="rId3" Type="http://schemas.openxmlformats.org/officeDocument/2006/relationships/image" Target="../media/image104.emf"/><Relationship Id="rId7" Type="http://schemas.openxmlformats.org/officeDocument/2006/relationships/image" Target="../media/image101.emf"/><Relationship Id="rId12" Type="http://schemas.openxmlformats.org/officeDocument/2006/relationships/image" Target="../media/image109.emf"/><Relationship Id="rId17" Type="http://schemas.openxmlformats.org/officeDocument/2006/relationships/image" Target="../media/image93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116.emf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14.emf"/><Relationship Id="rId11" Type="http://schemas.openxmlformats.org/officeDocument/2006/relationships/image" Target="../media/image108.emf"/><Relationship Id="rId5" Type="http://schemas.openxmlformats.org/officeDocument/2006/relationships/image" Target="../media/image106.emf"/><Relationship Id="rId15" Type="http://schemas.openxmlformats.org/officeDocument/2006/relationships/image" Target="../media/image111.emf"/><Relationship Id="rId10" Type="http://schemas.openxmlformats.org/officeDocument/2006/relationships/image" Target="../media/image107.emf"/><Relationship Id="rId4" Type="http://schemas.openxmlformats.org/officeDocument/2006/relationships/image" Target="../media/image105.emf"/><Relationship Id="rId9" Type="http://schemas.openxmlformats.org/officeDocument/2006/relationships/image" Target="../media/image115.emf"/><Relationship Id="rId14" Type="http://schemas.openxmlformats.org/officeDocument/2006/relationships/image" Target="../media/image110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32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12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jpg"/><Relationship Id="rId1" Type="http://schemas.openxmlformats.org/officeDocument/2006/relationships/slideLayout" Target="../slideLayouts/slideLayout5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tmp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na01.safelinks.protection.outlook.com/?url=https%3A%2F%2Fforms.office.com%2FPages%2FResponsePage.aspx%3Fid%3Dv4j5cvGGr0GRqy180BHbR9g5Y0-A-41OqCZJR9k5fl5UNlJUVk1VTDA4OTE4WFBUNUxESUFWSTNORi4u&amp;data=02%7C01%7Cqingyue.wang%40microsoft.com%7C3bcec7f72fcf41bd838408d6884df87f%7C72f988bf86f141af91ab2d7cd011db47%7C1%7C0%7C636846265816090789&amp;sdata=8C7t%2FBiNgzeGPI22RDKVmVZi2T3CUPeTaPWvccTqjBU%3D&amp;reserved=0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50.emf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5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6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71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5.sv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0" Type="http://schemas.openxmlformats.org/officeDocument/2006/relationships/image" Target="../media/image69.svg"/><Relationship Id="rId4" Type="http://schemas.openxmlformats.org/officeDocument/2006/relationships/image" Target="../media/image63.svg"/><Relationship Id="rId9" Type="http://schemas.openxmlformats.org/officeDocument/2006/relationships/image" Target="../media/image6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027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2B4B5BD-5D8E-4F06-87B6-19D6E846C076}"/>
              </a:ext>
            </a:extLst>
          </p:cNvPr>
          <p:cNvSpPr/>
          <p:nvPr/>
        </p:nvSpPr>
        <p:spPr bwMode="auto">
          <a:xfrm>
            <a:off x="5434592" y="4248784"/>
            <a:ext cx="2641466" cy="2492237"/>
          </a:xfrm>
          <a:prstGeom prst="roundRect">
            <a:avLst/>
          </a:prstGeom>
          <a:solidFill>
            <a:schemeClr val="bg1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1" i="0" u="none" strike="noStrike" kern="0" cap="none" spc="0" normalizeH="0" baseline="0" noProof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0" name="Freeform 5">
            <a:extLst>
              <a:ext uri="{FF2B5EF4-FFF2-40B4-BE49-F238E27FC236}">
                <a16:creationId xmlns:a16="http://schemas.microsoft.com/office/drawing/2014/main" id="{8DAA641D-66AF-48AF-BEF1-BD5E3652492F}"/>
              </a:ext>
            </a:extLst>
          </p:cNvPr>
          <p:cNvSpPr>
            <a:spLocks noChangeAspect="1"/>
          </p:cNvSpPr>
          <p:nvPr/>
        </p:nvSpPr>
        <p:spPr bwMode="black">
          <a:xfrm>
            <a:off x="8943798" y="5599953"/>
            <a:ext cx="3066301" cy="1216973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5984399" y="142109"/>
            <a:ext cx="5378549" cy="216636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731420" y="1636149"/>
            <a:ext cx="4196176" cy="1143425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zure Data Factory v2 Servi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9EA186-9883-431C-AA23-13E9D056A966}"/>
              </a:ext>
            </a:extLst>
          </p:cNvPr>
          <p:cNvSpPr txBox="1"/>
          <p:nvPr/>
        </p:nvSpPr>
        <p:spPr>
          <a:xfrm>
            <a:off x="6494032" y="1902421"/>
            <a:ext cx="4719513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0928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1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404040"/>
                    </a:gs>
                    <a:gs pos="3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Scheduling | Orchestration | Monitoring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 flipH="1">
            <a:off x="8961735" y="1439279"/>
            <a:ext cx="1" cy="1778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731420" y="841876"/>
            <a:ext cx="4196176" cy="51862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1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404040"/>
                    </a:gs>
                    <a:gs pos="3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uthoring  | Monitoring/Mgm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3D93E9B-7D38-4A37-9797-D94A972233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2846" y="899996"/>
            <a:ext cx="382603" cy="362644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2B221E4C-07E8-418B-9E78-834B1C106DAF}"/>
              </a:ext>
            </a:extLst>
          </p:cNvPr>
          <p:cNvSpPr/>
          <p:nvPr/>
        </p:nvSpPr>
        <p:spPr bwMode="auto">
          <a:xfrm>
            <a:off x="6059102" y="4536049"/>
            <a:ext cx="1209553" cy="536396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elf Hosted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Integration Runtime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87975" y="4066146"/>
            <a:ext cx="3066301" cy="160160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1030F99-B296-4B8D-BA2B-2719DB1D75A4}"/>
              </a:ext>
            </a:extLst>
          </p:cNvPr>
          <p:cNvSpPr txBox="1"/>
          <p:nvPr/>
        </p:nvSpPr>
        <p:spPr>
          <a:xfrm>
            <a:off x="9687997" y="5168818"/>
            <a:ext cx="1328860" cy="5112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Svcs 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882F6FEA-6ADE-4725-89D7-C4DB5DF6BD1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</a:blip>
          <a:stretch>
            <a:fillRect/>
          </a:stretch>
        </p:blipFill>
        <p:spPr>
          <a:xfrm>
            <a:off x="5536187" y="5286904"/>
            <a:ext cx="674300" cy="1334256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C19C66A0-EE66-4B13-B748-6018CDE0DDA7}"/>
              </a:ext>
            </a:extLst>
          </p:cNvPr>
          <p:cNvSpPr txBox="1"/>
          <p:nvPr/>
        </p:nvSpPr>
        <p:spPr>
          <a:xfrm>
            <a:off x="6112084" y="5474721"/>
            <a:ext cx="2103660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On Prem Apps &amp; Data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9702196" y="4424925"/>
            <a:ext cx="1567135" cy="536396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Azure</a:t>
            </a: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Integration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Runtime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DA2F3E5-6B52-4C08-BBF6-634DDA94B45F}"/>
              </a:ext>
            </a:extLst>
          </p:cNvPr>
          <p:cNvGrpSpPr/>
          <p:nvPr/>
        </p:nvGrpSpPr>
        <p:grpSpPr>
          <a:xfrm>
            <a:off x="6670234" y="4030453"/>
            <a:ext cx="1031621" cy="409182"/>
            <a:chOff x="1570037" y="2467828"/>
            <a:chExt cx="1052307" cy="41738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9D55D25-55CA-45FE-9FD9-6CC47F4EDB69}"/>
                </a:ext>
              </a:extLst>
            </p:cNvPr>
            <p:cNvSpPr/>
            <p:nvPr/>
          </p:nvSpPr>
          <p:spPr bwMode="auto">
            <a:xfrm>
              <a:off x="1715190" y="2572174"/>
              <a:ext cx="762000" cy="20869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8" name="Graphic 37" descr="Table">
              <a:extLst>
                <a:ext uri="{FF2B5EF4-FFF2-40B4-BE49-F238E27FC236}">
                  <a16:creationId xmlns:a16="http://schemas.microsoft.com/office/drawing/2014/main" id="{6B4F9E13-A5DD-4336-BA97-75C8652A7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570037" y="2467828"/>
              <a:ext cx="1052307" cy="417387"/>
            </a:xfrm>
            <a:prstGeom prst="rect">
              <a:avLst/>
            </a:prstGeom>
          </p:spPr>
        </p:pic>
      </p:grpSp>
      <p:pic>
        <p:nvPicPr>
          <p:cNvPr id="42" name="Graphic 41" descr="Bonfire">
            <a:extLst>
              <a:ext uri="{FF2B5EF4-FFF2-40B4-BE49-F238E27FC236}">
                <a16:creationId xmlns:a16="http://schemas.microsoft.com/office/drawing/2014/main" id="{97B86723-0FB8-42F6-B7A4-BD7C3C54A1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82668" y="3725101"/>
            <a:ext cx="413019" cy="413019"/>
          </a:xfrm>
          <a:prstGeom prst="rect">
            <a:avLst/>
          </a:prstGeom>
        </p:spPr>
      </p:pic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241560" y="182116"/>
            <a:ext cx="467743" cy="7987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241560" y="518651"/>
            <a:ext cx="48028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603473" y="-63348"/>
            <a:ext cx="4196763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583122" y="279970"/>
            <a:ext cx="4196763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Data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F7A8F24-B21A-40DD-94C6-BF4CB3875348}"/>
              </a:ext>
            </a:extLst>
          </p:cNvPr>
          <p:cNvCxnSpPr>
            <a:cxnSpLocks/>
            <a:stCxn id="29" idx="0"/>
            <a:endCxn id="17" idx="2"/>
          </p:cNvCxnSpPr>
          <p:nvPr/>
        </p:nvCxnSpPr>
        <p:spPr>
          <a:xfrm flipH="1" flipV="1">
            <a:off x="8829508" y="2779574"/>
            <a:ext cx="1656256" cy="164535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4CED6A6-F53E-4397-9639-240C0B56D184}"/>
              </a:ext>
            </a:extLst>
          </p:cNvPr>
          <p:cNvCxnSpPr>
            <a:cxnSpLocks/>
            <a:stCxn id="27" idx="0"/>
            <a:endCxn id="17" idx="2"/>
          </p:cNvCxnSpPr>
          <p:nvPr/>
        </p:nvCxnSpPr>
        <p:spPr>
          <a:xfrm flipV="1">
            <a:off x="6663879" y="2779574"/>
            <a:ext cx="2165630" cy="175647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7261494" y="2267520"/>
            <a:ext cx="1921341" cy="414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7580496" y="2433620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7997140" y="2429612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8429617" y="2338479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8429617" y="2540785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7811108" y="2486713"/>
            <a:ext cx="186032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246461" y="2395580"/>
            <a:ext cx="183156" cy="10462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224180" y="2486713"/>
            <a:ext cx="205437" cy="111173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8823079" y="2537586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8673674" y="2608183"/>
            <a:ext cx="15514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4DE9E213-8A65-4530-A23F-78AC4A9B9D14}"/>
              </a:ext>
            </a:extLst>
          </p:cNvPr>
          <p:cNvSpPr/>
          <p:nvPr/>
        </p:nvSpPr>
        <p:spPr bwMode="auto">
          <a:xfrm>
            <a:off x="9427855" y="2264447"/>
            <a:ext cx="963967" cy="414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SSIS Package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endCxn id="27" idx="3"/>
          </p:cNvCxnSpPr>
          <p:nvPr/>
        </p:nvCxnSpPr>
        <p:spPr>
          <a:xfrm flipH="1" flipV="1">
            <a:off x="7268655" y="4804247"/>
            <a:ext cx="1657781" cy="81966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87F235D6-C9D6-4134-8F25-3D566BA3C7B5}"/>
              </a:ext>
            </a:extLst>
          </p:cNvPr>
          <p:cNvCxnSpPr>
            <a:cxnSpLocks/>
            <a:endCxn id="27" idx="2"/>
          </p:cNvCxnSpPr>
          <p:nvPr/>
        </p:nvCxnSpPr>
        <p:spPr>
          <a:xfrm flipH="1" flipV="1">
            <a:off x="6663879" y="5072446"/>
            <a:ext cx="6356" cy="45482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E8D658E-5222-4EA5-A452-5AA9AA49C4D8}"/>
              </a:ext>
            </a:extLst>
          </p:cNvPr>
          <p:cNvGrpSpPr/>
          <p:nvPr/>
        </p:nvGrpSpPr>
        <p:grpSpPr>
          <a:xfrm>
            <a:off x="10985615" y="4976064"/>
            <a:ext cx="138282" cy="868618"/>
            <a:chOff x="5868071" y="4976064"/>
            <a:chExt cx="138282" cy="868618"/>
          </a:xfrm>
        </p:grpSpPr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64200DD0-D3DA-4CB7-B918-33C27B988E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68071" y="4976064"/>
              <a:ext cx="0" cy="868618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83D0E7C0-5B90-445F-9EB8-2D022FB2918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996526" y="4976065"/>
              <a:ext cx="9827" cy="862947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A1648413-F9FF-4CB3-92FF-125136A3EC96}"/>
              </a:ext>
            </a:extLst>
          </p:cNvPr>
          <p:cNvCxnSpPr>
            <a:cxnSpLocks/>
          </p:cNvCxnSpPr>
          <p:nvPr/>
        </p:nvCxnSpPr>
        <p:spPr>
          <a:xfrm flipH="1" flipV="1">
            <a:off x="6509902" y="5100045"/>
            <a:ext cx="5302" cy="427222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7268619" y="2269029"/>
            <a:ext cx="1554459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rPr>
              <a:t>Pipeline</a:t>
            </a:r>
          </a:p>
        </p:txBody>
      </p:sp>
      <p:pic>
        <p:nvPicPr>
          <p:cNvPr id="47" name="Picture 8" descr="Image result for Amazon AWS">
            <a:extLst>
              <a:ext uri="{FF2B5EF4-FFF2-40B4-BE49-F238E27FC236}">
                <a16:creationId xmlns:a16="http://schemas.microsoft.com/office/drawing/2014/main" id="{AED0228B-4662-48D0-A884-3AD0D6B01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23835" y="6510226"/>
            <a:ext cx="611377" cy="221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B59F154E-2E9A-4649-931F-2488C923D36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1714" y="6254697"/>
            <a:ext cx="524811" cy="366463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58ACCCB9-6A0C-46BD-BC00-2FBB592D437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01382" y="6273040"/>
            <a:ext cx="628713" cy="24676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A8019C1-297B-46D4-8B9C-D0E410E9EEB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0089" y="6486522"/>
            <a:ext cx="391592" cy="220270"/>
          </a:xfrm>
          <a:prstGeom prst="rect">
            <a:avLst/>
          </a:prstGeom>
        </p:spPr>
      </p:pic>
      <p:pic>
        <p:nvPicPr>
          <p:cNvPr id="3" name="Picture 2" descr="A drawing of a cartoon character&#10;&#10;Description generated with high confidence">
            <a:extLst>
              <a:ext uri="{FF2B5EF4-FFF2-40B4-BE49-F238E27FC236}">
                <a16:creationId xmlns:a16="http://schemas.microsoft.com/office/drawing/2014/main" id="{661D5180-C214-402E-A2B1-171F6C5B2BB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9968" y="6464977"/>
            <a:ext cx="340285" cy="3448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FA2849-DC78-40EC-93CE-78C45A0F683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134" b="38831"/>
          <a:stretch/>
        </p:blipFill>
        <p:spPr>
          <a:xfrm>
            <a:off x="10513563" y="6621161"/>
            <a:ext cx="554827" cy="131496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9DAB203B-13A8-4B70-8185-01AE4D4DB4CD}"/>
              </a:ext>
            </a:extLst>
          </p:cNvPr>
          <p:cNvSpPr txBox="1"/>
          <p:nvPr/>
        </p:nvSpPr>
        <p:spPr>
          <a:xfrm>
            <a:off x="9687997" y="5839522"/>
            <a:ext cx="2370841" cy="5112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loud &amp; SaaS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919B3A7B-BEA4-4F69-8782-604057891238}"/>
              </a:ext>
            </a:extLst>
          </p:cNvPr>
          <p:cNvCxnSpPr>
            <a:cxnSpLocks/>
          </p:cNvCxnSpPr>
          <p:nvPr/>
        </p:nvCxnSpPr>
        <p:spPr>
          <a:xfrm flipV="1">
            <a:off x="10135236" y="4999466"/>
            <a:ext cx="0" cy="28743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120FF923-36A0-419D-B58E-DEEA26F70C64}"/>
              </a:ext>
            </a:extLst>
          </p:cNvPr>
          <p:cNvCxnSpPr>
            <a:cxnSpLocks/>
          </p:cNvCxnSpPr>
          <p:nvPr/>
        </p:nvCxnSpPr>
        <p:spPr>
          <a:xfrm flipV="1">
            <a:off x="10313435" y="4999467"/>
            <a:ext cx="0" cy="287437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D3ED15F6-0F84-442D-8CD2-54875DB803F8}"/>
              </a:ext>
            </a:extLst>
          </p:cNvPr>
          <p:cNvSpPr txBox="1"/>
          <p:nvPr/>
        </p:nvSpPr>
        <p:spPr>
          <a:xfrm>
            <a:off x="9270782" y="86305"/>
            <a:ext cx="1328860" cy="455857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DACE255A-4F36-4CD2-9B2F-AD025D688BD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299" y="6092685"/>
            <a:ext cx="417206" cy="211384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8B6F3FE8-BFEA-4591-AA21-451E60ECEE1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8121" y="6308417"/>
            <a:ext cx="491661" cy="211383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D0CDDBD7-549E-4A7F-9669-60D1F5A734C5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2336" y="6519800"/>
            <a:ext cx="450827" cy="124766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0045662A-EACD-4287-B00B-BBA6EFD4560D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912" y="6106510"/>
            <a:ext cx="695872" cy="187875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039992B6-A7DD-4668-B9EE-D7684C75AE04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833" y="6360885"/>
            <a:ext cx="690897" cy="131599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D729F4EF-C00B-4F83-AA2C-837980FC49C6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8296" y="6016124"/>
            <a:ext cx="379699" cy="308585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190EB120-CED2-44F4-8F3A-793E51611A56}"/>
              </a:ext>
            </a:extLst>
          </p:cNvPr>
          <p:cNvSpPr/>
          <p:nvPr/>
        </p:nvSpPr>
        <p:spPr bwMode="auto">
          <a:xfrm>
            <a:off x="-5230" y="973"/>
            <a:ext cx="4798562" cy="685702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1CD1D13-991D-44D7-AF80-D9070DC7C3CA}"/>
              </a:ext>
            </a:extLst>
          </p:cNvPr>
          <p:cNvSpPr/>
          <p:nvPr/>
        </p:nvSpPr>
        <p:spPr>
          <a:xfrm>
            <a:off x="245818" y="1187230"/>
            <a:ext cx="4721346" cy="408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Factory</a:t>
            </a:r>
            <a:endParaRPr lang="en-US" sz="24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data integration account. 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ocation of orchestration, service metadata</a:t>
            </a:r>
            <a:endParaRPr lang="en-US" sz="24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endParaRPr lang="en-US" sz="320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egration Runtime (IR)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F’s execution engine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ree core capabilities: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ipeline activity execution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SIS package execution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2093F48-ED1B-4198-90BE-76F868168C29}"/>
              </a:ext>
            </a:extLst>
          </p:cNvPr>
          <p:cNvSpPr txBox="1">
            <a:spLocks/>
          </p:cNvSpPr>
          <p:nvPr/>
        </p:nvSpPr>
        <p:spPr>
          <a:xfrm>
            <a:off x="209589" y="175258"/>
            <a:ext cx="11023275" cy="64396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2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Architecture</a:t>
            </a:r>
          </a:p>
        </p:txBody>
      </p:sp>
    </p:spTree>
    <p:extLst>
      <p:ext uri="{BB962C8B-B14F-4D97-AF65-F5344CB8AC3E}">
        <p14:creationId xmlns:p14="http://schemas.microsoft.com/office/powerpoint/2010/main" val="247400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ADF Key Concepts</a:t>
            </a:r>
          </a:p>
        </p:txBody>
      </p:sp>
      <p:pic>
        <p:nvPicPr>
          <p:cNvPr id="7" name="Picture 2" descr="Diagram: Data Factory, a cloud data integration service - Key Concepts">
            <a:extLst>
              <a:ext uri="{FF2B5EF4-FFF2-40B4-BE49-F238E27FC236}">
                <a16:creationId xmlns:a16="http://schemas.microsoft.com/office/drawing/2014/main" id="{BE009E6E-8554-4328-8586-D0CAA6C195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44" y="1996827"/>
            <a:ext cx="11383536" cy="3600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977691-26A4-4B92-99C3-225F3B814A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1083" y="4593502"/>
            <a:ext cx="1675963" cy="3336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17AFA93-B211-49B7-A6E8-C93D678DEF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2165" y="4328602"/>
            <a:ext cx="2919726" cy="1114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126918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53DABB43-3747-4A16-AE3E-6D88AE3A0C03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33962" cy="68780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918"/>
            <a:r>
              <a:rPr lang="en-US" sz="392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Access all your data – 80+ connectors &amp; grow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EB1C3F-4F91-4090-B20B-170898529B4A}"/>
              </a:ext>
            </a:extLst>
          </p:cNvPr>
          <p:cNvSpPr/>
          <p:nvPr/>
        </p:nvSpPr>
        <p:spPr>
          <a:xfrm>
            <a:off x="174070" y="6358086"/>
            <a:ext cx="45540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26"/>
            <a:r>
              <a:rPr lang="en-US" sz="140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* Supported file formats: CSV, Parquet, AVRO, ORC, JS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05C014F-0D93-440F-B88E-CA6E3654291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40946" y="842856"/>
          <a:ext cx="11510108" cy="5452312"/>
        </p:xfrm>
        <a:graphic>
          <a:graphicData uri="http://schemas.openxmlformats.org/drawingml/2006/table">
            <a:tbl>
              <a:tblPr firstRow="1" firstCol="1" bandRow="1"/>
              <a:tblGrid>
                <a:gridCol w="1714201">
                  <a:extLst>
                    <a:ext uri="{9D8B030D-6E8A-4147-A177-3AD203B41FA5}">
                      <a16:colId xmlns:a16="http://schemas.microsoft.com/office/drawing/2014/main" val="165871124"/>
                    </a:ext>
                  </a:extLst>
                </a:gridCol>
                <a:gridCol w="1443607">
                  <a:extLst>
                    <a:ext uri="{9D8B030D-6E8A-4147-A177-3AD203B41FA5}">
                      <a16:colId xmlns:a16="http://schemas.microsoft.com/office/drawing/2014/main" val="1811083477"/>
                    </a:ext>
                  </a:extLst>
                </a:gridCol>
                <a:gridCol w="1357569">
                  <a:extLst>
                    <a:ext uri="{9D8B030D-6E8A-4147-A177-3AD203B41FA5}">
                      <a16:colId xmlns:a16="http://schemas.microsoft.com/office/drawing/2014/main" val="2505787839"/>
                    </a:ext>
                  </a:extLst>
                </a:gridCol>
                <a:gridCol w="1529646">
                  <a:extLst>
                    <a:ext uri="{9D8B030D-6E8A-4147-A177-3AD203B41FA5}">
                      <a16:colId xmlns:a16="http://schemas.microsoft.com/office/drawing/2014/main" val="168916183"/>
                    </a:ext>
                  </a:extLst>
                </a:gridCol>
                <a:gridCol w="1270873">
                  <a:extLst>
                    <a:ext uri="{9D8B030D-6E8A-4147-A177-3AD203B41FA5}">
                      <a16:colId xmlns:a16="http://schemas.microsoft.com/office/drawing/2014/main" val="3147627892"/>
                    </a:ext>
                  </a:extLst>
                </a:gridCol>
                <a:gridCol w="1454773">
                  <a:extLst>
                    <a:ext uri="{9D8B030D-6E8A-4147-A177-3AD203B41FA5}">
                      <a16:colId xmlns:a16="http://schemas.microsoft.com/office/drawing/2014/main" val="32484208"/>
                    </a:ext>
                  </a:extLst>
                </a:gridCol>
                <a:gridCol w="1481044">
                  <a:extLst>
                    <a:ext uri="{9D8B030D-6E8A-4147-A177-3AD203B41FA5}">
                      <a16:colId xmlns:a16="http://schemas.microsoft.com/office/drawing/2014/main" val="845883136"/>
                    </a:ext>
                  </a:extLst>
                </a:gridCol>
                <a:gridCol w="1258395">
                  <a:extLst>
                    <a:ext uri="{9D8B030D-6E8A-4147-A177-3AD203B41FA5}">
                      <a16:colId xmlns:a16="http://schemas.microsoft.com/office/drawing/2014/main" val="2208311229"/>
                    </a:ext>
                  </a:extLst>
                </a:gridCol>
              </a:tblGrid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zure (15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&amp; DW (25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torage (6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NoSQL (3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rvices &amp; Apps (28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eneric (4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37144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Blob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Redshift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S3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assandr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MW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Service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T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89956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smos DB – SQL AP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B2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hoenix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ystem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uchbas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DS for App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aypa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Dat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061614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smos DB – MongoDB AP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rill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ostgreSQL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ongoDB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ncur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QuickBooks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DBC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028119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DLS Gen1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BigQuery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resto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Cloud Storag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365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lesforc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REST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67319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DLS Gen2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reenplum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BW Open Hub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DFS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AX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 Service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197217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 Explorer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Bas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BW MDX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CRM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 Marketing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3696990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MariaDB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iv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HAN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AdWord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C4C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2881925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MySQ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Impal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park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ubSpot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ECC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11327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PostgreSQ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Informix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Server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Jira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rviceNow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367279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riaDB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ybase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gento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hopify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8617407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bas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icrosoft Access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Teradat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rketo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uar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271534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base M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ySQL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Vertic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ffice 365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Web Tabl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28468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 Warehous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Netezz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Eloqua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Xero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13722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arch Index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Responsy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err="1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Zoho</a:t>
                      </a:r>
                      <a:endParaRPr lang="en-US" sz="125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525800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Table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6976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6951642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53DABB43-3747-4A16-AE3E-6D88AE3A0C03}"/>
              </a:ext>
            </a:extLst>
          </p:cNvPr>
          <p:cNvSpPr txBox="1">
            <a:spLocks/>
          </p:cNvSpPr>
          <p:nvPr/>
        </p:nvSpPr>
        <p:spPr>
          <a:xfrm>
            <a:off x="197400" y="155517"/>
            <a:ext cx="11071047" cy="115048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918"/>
            <a:r>
              <a:rPr lang="en-US" sz="390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Transformation through Analytics Engin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00FADB-CAC6-4C36-B477-85442258E8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5586" y="1725926"/>
            <a:ext cx="1400086" cy="89953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F635D79-C936-4D76-9527-C3B7EA732402}"/>
              </a:ext>
            </a:extLst>
          </p:cNvPr>
          <p:cNvSpPr txBox="1"/>
          <p:nvPr/>
        </p:nvSpPr>
        <p:spPr>
          <a:xfrm>
            <a:off x="3556001" y="2639894"/>
            <a:ext cx="4579256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HDInsight (on-demand/BYOC)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Hive, Pig, Spark, MapReduce, Streaming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C4DB65-9143-4053-B6DD-6A02747D01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6135" y="1721957"/>
            <a:ext cx="1059825" cy="90747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D23CE4A-A0E7-4711-86F4-8C5430D15B37}"/>
              </a:ext>
            </a:extLst>
          </p:cNvPr>
          <p:cNvSpPr txBox="1"/>
          <p:nvPr/>
        </p:nvSpPr>
        <p:spPr>
          <a:xfrm>
            <a:off x="783101" y="2639894"/>
            <a:ext cx="2805892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Databrick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Notebook, Jar, Python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A43B6AC-54C5-4C1B-9532-422012AB69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0568" y="4058879"/>
            <a:ext cx="1210959" cy="96222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F1168C9-8EAD-40C4-A7CE-6B5DC2854ADC}"/>
              </a:ext>
            </a:extLst>
          </p:cNvPr>
          <p:cNvSpPr txBox="1"/>
          <p:nvPr/>
        </p:nvSpPr>
        <p:spPr>
          <a:xfrm>
            <a:off x="611447" y="4962243"/>
            <a:ext cx="3149201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Data Lake Analytic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Data Lake Analytics U-SQL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C56A675-1BA0-4379-A582-2FEB753271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4772" y="4081450"/>
            <a:ext cx="1021714" cy="91708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F5A5711-CE44-4335-B725-487E95488C52}"/>
              </a:ext>
            </a:extLst>
          </p:cNvPr>
          <p:cNvSpPr txBox="1"/>
          <p:nvPr/>
        </p:nvSpPr>
        <p:spPr>
          <a:xfrm>
            <a:off x="4056733" y="4962243"/>
            <a:ext cx="3577792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Machine Learn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Batch Execution, Update Resourc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94AE0EE-5807-4526-BE54-CAB10424AD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4990" y="4042634"/>
            <a:ext cx="1140789" cy="99471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C778084-802A-4046-892A-C70A4AE47332}"/>
              </a:ext>
            </a:extLst>
          </p:cNvPr>
          <p:cNvSpPr txBox="1"/>
          <p:nvPr/>
        </p:nvSpPr>
        <p:spPr>
          <a:xfrm>
            <a:off x="8302322" y="4962243"/>
            <a:ext cx="2966125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Batch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Custom Executab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8960E92-2E53-4E8B-B028-32A41D4481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42496" y="1678338"/>
            <a:ext cx="1085777" cy="99471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DE0DDFF-4A74-4E85-8D31-EEBB1CFCF938}"/>
              </a:ext>
            </a:extLst>
          </p:cNvPr>
          <p:cNvSpPr txBox="1"/>
          <p:nvPr/>
        </p:nvSpPr>
        <p:spPr>
          <a:xfrm>
            <a:off x="7983386" y="2639894"/>
            <a:ext cx="3603996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SQL DB/DW, SQL Server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tored Procedure</a:t>
            </a:r>
          </a:p>
        </p:txBody>
      </p:sp>
    </p:spTree>
    <p:extLst>
      <p:ext uri="{BB962C8B-B14F-4D97-AF65-F5344CB8AC3E}">
        <p14:creationId xmlns:p14="http://schemas.microsoft.com/office/powerpoint/2010/main" val="3076577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8059E029-6125-4656-A2FF-A93D7EA22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024" y="154197"/>
            <a:ext cx="10514108" cy="1150945"/>
          </a:xfrm>
        </p:spPr>
        <p:txBody>
          <a:bodyPr>
            <a:normAutofit/>
          </a:bodyPr>
          <a:lstStyle/>
          <a:p>
            <a:r>
              <a:rPr lang="en-US" sz="3900" b="1">
                <a:solidFill>
                  <a:srgbClr val="0078D7"/>
                </a:solidFill>
                <a:latin typeface="Segoe UI Light (Headings)"/>
              </a:rPr>
              <a:t>Control Flow</a:t>
            </a:r>
          </a:p>
        </p:txBody>
      </p:sp>
      <p:sp>
        <p:nvSpPr>
          <p:cNvPr id="79" name="Rectangle 78"/>
          <p:cNvSpPr/>
          <p:nvPr/>
        </p:nvSpPr>
        <p:spPr>
          <a:xfrm>
            <a:off x="1952121" y="3934334"/>
            <a:ext cx="6970601" cy="257983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81" name="Straight Arrow Connector 80"/>
          <p:cNvCxnSpPr>
            <a:endCxn id="82" idx="1"/>
          </p:cNvCxnSpPr>
          <p:nvPr/>
        </p:nvCxnSpPr>
        <p:spPr>
          <a:xfrm>
            <a:off x="1619482" y="4805947"/>
            <a:ext cx="1550843" cy="0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3170325" y="4436485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Activity 1</a:t>
            </a:r>
            <a:endParaRPr lang="en-US" sz="1568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5314130" y="4436485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Activity 2</a:t>
            </a:r>
          </a:p>
        </p:txBody>
      </p:sp>
      <p:cxnSp>
        <p:nvCxnSpPr>
          <p:cNvPr id="84" name="Straight Arrow Connector 83"/>
          <p:cNvCxnSpPr/>
          <p:nvPr/>
        </p:nvCxnSpPr>
        <p:spPr>
          <a:xfrm>
            <a:off x="4321043" y="4848508"/>
            <a:ext cx="993088" cy="1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 flipV="1">
            <a:off x="6464849" y="4848507"/>
            <a:ext cx="630302" cy="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7214133" y="4358124"/>
            <a:ext cx="1150719" cy="294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Activity 3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87" name="Straight Arrow Connector 86"/>
          <p:cNvCxnSpPr>
            <a:endCxn id="88" idx="1"/>
          </p:cNvCxnSpPr>
          <p:nvPr/>
        </p:nvCxnSpPr>
        <p:spPr>
          <a:xfrm>
            <a:off x="4321044" y="4848508"/>
            <a:ext cx="958109" cy="1139681"/>
          </a:xfrm>
          <a:prstGeom prst="straightConnector1">
            <a:avLst/>
          </a:prstGeom>
          <a:ln w="254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/>
        </p:nvSpPr>
        <p:spPr>
          <a:xfrm>
            <a:off x="5279152" y="5618728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“On Error” Activity 1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4334408" y="4358125"/>
            <a:ext cx="1098704" cy="531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Success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286067" y="5350598"/>
            <a:ext cx="781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Error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866267" y="3592637"/>
            <a:ext cx="1515901" cy="312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My Pipeline 1</a:t>
            </a:r>
          </a:p>
        </p:txBody>
      </p:sp>
      <p:cxnSp>
        <p:nvCxnSpPr>
          <p:cNvPr id="92" name="Straight Arrow Connector 91"/>
          <p:cNvCxnSpPr/>
          <p:nvPr/>
        </p:nvCxnSpPr>
        <p:spPr>
          <a:xfrm flipV="1">
            <a:off x="6429871" y="5988189"/>
            <a:ext cx="657779" cy="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/>
          <p:nvPr/>
        </p:nvSpPr>
        <p:spPr>
          <a:xfrm>
            <a:off x="7064532" y="5618728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…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9471283" y="4296798"/>
            <a:ext cx="2309845" cy="222787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95" name="Straight Arrow Connector 94"/>
          <p:cNvCxnSpPr>
            <a:stCxn id="97" idx="3"/>
          </p:cNvCxnSpPr>
          <p:nvPr/>
        </p:nvCxnSpPr>
        <p:spPr>
          <a:xfrm>
            <a:off x="8452525" y="4635144"/>
            <a:ext cx="1045556" cy="77559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9424519" y="4003447"/>
            <a:ext cx="1515901" cy="312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My Pipeline 2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095152" y="4003447"/>
            <a:ext cx="1357373" cy="12633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67"/>
            <a:r>
              <a:rPr lang="en-US" sz="1400" b="1">
                <a:solidFill>
                  <a:srgbClr val="FFFFFF">
                    <a:lumMod val="50000"/>
                  </a:srgbClr>
                </a:solidFill>
                <a:latin typeface="Segoe UI Semilight"/>
              </a:rPr>
              <a:t>For Each…</a:t>
            </a:r>
            <a:endParaRPr lang="en-US" sz="1200">
              <a:solidFill>
                <a:srgbClr val="FFFFFF">
                  <a:lumMod val="50000"/>
                </a:srgbClr>
              </a:solidFill>
              <a:latin typeface="Segoe UI Semilight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7214133" y="4902817"/>
            <a:ext cx="1150719" cy="294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Activity 4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99" name="Straight Arrow Connector 98"/>
          <p:cNvCxnSpPr>
            <a:stCxn id="86" idx="2"/>
            <a:endCxn id="98" idx="0"/>
          </p:cNvCxnSpPr>
          <p:nvPr/>
        </p:nvCxnSpPr>
        <p:spPr>
          <a:xfrm>
            <a:off x="7789492" y="4652979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2013113" y="4325362"/>
            <a:ext cx="1098704" cy="531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Success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49715" y="4158440"/>
            <a:ext cx="1377708" cy="14193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Trigger</a:t>
            </a:r>
          </a:p>
          <a:p>
            <a:pPr algn="ctr" defTabSz="914367"/>
            <a:endParaRPr lang="en-US" sz="1200" b="1">
              <a:solidFill>
                <a:srgbClr val="FFFFFF"/>
              </a:solidFill>
              <a:latin typeface="Segoe UI Semilight"/>
            </a:endParaRPr>
          </a:p>
          <a:p>
            <a:pPr defTabSz="914367"/>
            <a:endParaRPr lang="en-US" sz="1200">
              <a:solidFill>
                <a:srgbClr val="FFFFFF"/>
              </a:solidFill>
              <a:latin typeface="Segoe UI Semilight"/>
            </a:endParaRPr>
          </a:p>
          <a:p>
            <a:pPr defTabSz="914367"/>
            <a:r>
              <a:rPr lang="en-US" sz="1200">
                <a:solidFill>
                  <a:srgbClr val="FFFFFF"/>
                </a:solidFill>
              </a:rPr>
              <a:t>On Demand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Scheduled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Tumbling Window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Event-based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219048" y="4409020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Activity 1</a:t>
            </a:r>
            <a:endParaRPr lang="en-US" sz="1078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229579" y="5067234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Activity 2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29579" y="5788383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…</a:t>
            </a:r>
            <a:endParaRPr lang="en-US" sz="1029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10626206" y="4805947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10652998" y="5500732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5785EB7-2855-41D8-8FCC-C4859C983245}"/>
              </a:ext>
            </a:extLst>
          </p:cNvPr>
          <p:cNvSpPr txBox="1">
            <a:spLocks/>
          </p:cNvSpPr>
          <p:nvPr/>
        </p:nvSpPr>
        <p:spPr>
          <a:xfrm>
            <a:off x="349715" y="912189"/>
            <a:ext cx="11655078" cy="249299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080" marR="0" indent="-33608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724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Flexible triggering</a:t>
            </a:r>
            <a:r>
              <a:rPr lang="en-US" sz="2000" dirty="0"/>
              <a:t>: on-demand, scheduled, tumbling window</a:t>
            </a:r>
          </a:p>
          <a:p>
            <a:r>
              <a:rPr lang="en-US" sz="2000" b="1" dirty="0"/>
              <a:t>Looping</a:t>
            </a:r>
            <a:r>
              <a:rPr lang="en-US" sz="2000" dirty="0"/>
              <a:t>: </a:t>
            </a:r>
            <a:r>
              <a:rPr lang="en-US" sz="2000" dirty="0" err="1"/>
              <a:t>ForEach</a:t>
            </a:r>
            <a:r>
              <a:rPr lang="en-US" sz="2000" dirty="0"/>
              <a:t>, </a:t>
            </a:r>
            <a:r>
              <a:rPr lang="en-US" sz="2000" dirty="0" err="1"/>
              <a:t>DoUntil</a:t>
            </a:r>
            <a:r>
              <a:rPr lang="en-US" sz="2000" dirty="0"/>
              <a:t>, </a:t>
            </a:r>
            <a:r>
              <a:rPr lang="en-US" sz="2000" dirty="0" err="1"/>
              <a:t>WaitFor</a:t>
            </a:r>
            <a:endParaRPr lang="en-US" sz="2000" dirty="0"/>
          </a:p>
          <a:p>
            <a:r>
              <a:rPr lang="en-US" sz="2000" b="1" dirty="0"/>
              <a:t>Branching activity</a:t>
            </a:r>
            <a:r>
              <a:rPr lang="en-US" sz="2000" dirty="0"/>
              <a:t>: If Condition</a:t>
            </a:r>
          </a:p>
          <a:p>
            <a:r>
              <a:rPr lang="en-US" sz="2000" b="1" dirty="0"/>
              <a:t>Conditional chaining of activities</a:t>
            </a:r>
            <a:r>
              <a:rPr lang="en-US" sz="2000" dirty="0"/>
              <a:t>: Succeeded, Failed, Skipped, Completed</a:t>
            </a:r>
          </a:p>
          <a:p>
            <a:r>
              <a:rPr lang="en-US" sz="2000" b="1" dirty="0"/>
              <a:t>Parameters and expression</a:t>
            </a:r>
            <a:r>
              <a:rPr lang="en-US" sz="2000" dirty="0"/>
              <a:t>: parameters can be defined for pipeline/activity/dataset</a:t>
            </a:r>
          </a:p>
          <a:p>
            <a:r>
              <a:rPr lang="en-US" sz="2000" b="1" dirty="0"/>
              <a:t>Custom state passing: </a:t>
            </a:r>
            <a:r>
              <a:rPr lang="en-US" sz="2000" dirty="0"/>
              <a:t>output from previous activity can be consumed by subsequent activity</a:t>
            </a:r>
          </a:p>
          <a:p>
            <a:r>
              <a:rPr lang="en-US" sz="2000" b="1" dirty="0"/>
              <a:t>Extensible</a:t>
            </a:r>
            <a:r>
              <a:rPr lang="en-US" sz="2000" dirty="0"/>
              <a:t>: Web activity, Azure Function activity, Execute Pipeline activity</a:t>
            </a:r>
          </a:p>
        </p:txBody>
      </p:sp>
    </p:spTree>
    <p:extLst>
      <p:ext uri="{BB962C8B-B14F-4D97-AF65-F5344CB8AC3E}">
        <p14:creationId xmlns:p14="http://schemas.microsoft.com/office/powerpoint/2010/main" val="590175795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5F8BA-DD9D-4376-8509-72FC89781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15663"/>
          </a:xfrm>
        </p:spPr>
        <p:txBody>
          <a:bodyPr/>
          <a:lstStyle/>
          <a:p>
            <a:r>
              <a:rPr lang="en-US" sz="6000"/>
              <a:t>Loading Data using ADF</a:t>
            </a:r>
          </a:p>
        </p:txBody>
      </p:sp>
    </p:spTree>
    <p:extLst>
      <p:ext uri="{BB962C8B-B14F-4D97-AF65-F5344CB8AC3E}">
        <p14:creationId xmlns:p14="http://schemas.microsoft.com/office/powerpoint/2010/main" val="82870064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6096001" y="627773"/>
            <a:ext cx="5377148" cy="216579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836399" y="2013584"/>
            <a:ext cx="4195083" cy="779987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DF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>
            <a:off x="8964643" y="1646453"/>
            <a:ext cx="1" cy="3576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842828" y="1327360"/>
            <a:ext cx="4195083" cy="29510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21127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9434877" y="3867274"/>
            <a:ext cx="2249681" cy="1407317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IR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340534" y="401435"/>
            <a:ext cx="467621" cy="798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340533" y="737881"/>
            <a:ext cx="480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702352" y="156035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682006" y="499264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at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8004222" y="2287017"/>
            <a:ext cx="1920841" cy="4143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8323141" y="2453072"/>
            <a:ext cx="226981" cy="114172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8739676" y="2449065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9172041" y="2357956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9172041" y="2560209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8553692" y="2506151"/>
            <a:ext cx="18598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988932" y="2415043"/>
            <a:ext cx="183108" cy="10460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966656" y="2506152"/>
            <a:ext cx="205384" cy="11114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9565400" y="2557011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9416034" y="2627591"/>
            <a:ext cx="15510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64200DD0-D3DA-4CB7-B918-33C27B988E75}"/>
              </a:ext>
            </a:extLst>
          </p:cNvPr>
          <p:cNvCxnSpPr>
            <a:cxnSpLocks/>
            <a:stCxn id="58" idx="0"/>
            <a:endCxn id="29" idx="2"/>
          </p:cNvCxnSpPr>
          <p:nvPr/>
        </p:nvCxnSpPr>
        <p:spPr>
          <a:xfrm flipV="1">
            <a:off x="10559716" y="5274591"/>
            <a:ext cx="0" cy="355255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8011345" y="2288524"/>
            <a:ext cx="1554054" cy="162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176">
                <a:solidFill>
                  <a:srgbClr val="737373"/>
                </a:solidFill>
                <a:latin typeface="Segoe UI Semilight"/>
                <a:cs typeface="Segoe UI" pitchFamily="34" charset="0"/>
              </a:rPr>
              <a:t>Pipeli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3BE2795-A704-445B-8FE3-CC61D41066E0}"/>
              </a:ext>
            </a:extLst>
          </p:cNvPr>
          <p:cNvSpPr/>
          <p:nvPr/>
        </p:nvSpPr>
        <p:spPr bwMode="auto">
          <a:xfrm>
            <a:off x="-3642" y="1867"/>
            <a:ext cx="5140930" cy="685524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F24FA54-9ADC-46C9-8F5E-9E84F17A4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9717" y="2188123"/>
            <a:ext cx="425086" cy="425544"/>
          </a:xfrm>
          <a:prstGeom prst="rect">
            <a:avLst/>
          </a:prstGeom>
        </p:spPr>
      </p:pic>
      <p:sp>
        <p:nvSpPr>
          <p:cNvPr id="54" name="Freeform 5">
            <a:extLst>
              <a:ext uri="{FF2B5EF4-FFF2-40B4-BE49-F238E27FC236}">
                <a16:creationId xmlns:a16="http://schemas.microsoft.com/office/drawing/2014/main" id="{3D738FCF-05CE-474C-A8EF-674DEFF392F1}"/>
              </a:ext>
            </a:extLst>
          </p:cNvPr>
          <p:cNvSpPr>
            <a:spLocks noChangeAspect="1"/>
          </p:cNvSpPr>
          <p:nvPr/>
        </p:nvSpPr>
        <p:spPr bwMode="black">
          <a:xfrm>
            <a:off x="5377870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stCxn id="29" idx="1"/>
            <a:endCxn id="65" idx="0"/>
          </p:cNvCxnSpPr>
          <p:nvPr/>
        </p:nvCxnSpPr>
        <p:spPr>
          <a:xfrm flipH="1">
            <a:off x="6994526" y="4570933"/>
            <a:ext cx="2440351" cy="1058913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Rounded Rectangle 8">
            <a:extLst>
              <a:ext uri="{FF2B5EF4-FFF2-40B4-BE49-F238E27FC236}">
                <a16:creationId xmlns:a16="http://schemas.microsoft.com/office/drawing/2014/main" id="{BF01306E-D157-4662-8FAC-9076B49B77AF}"/>
              </a:ext>
            </a:extLst>
          </p:cNvPr>
          <p:cNvSpPr/>
          <p:nvPr/>
        </p:nvSpPr>
        <p:spPr bwMode="auto">
          <a:xfrm>
            <a:off x="9434877" y="5629847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5" name="Rounded Rectangle 8">
            <a:extLst>
              <a:ext uri="{FF2B5EF4-FFF2-40B4-BE49-F238E27FC236}">
                <a16:creationId xmlns:a16="http://schemas.microsoft.com/office/drawing/2014/main" id="{11969639-7746-4D3E-82FE-3160CCC30BC5}"/>
              </a:ext>
            </a:extLst>
          </p:cNvPr>
          <p:cNvSpPr/>
          <p:nvPr/>
        </p:nvSpPr>
        <p:spPr bwMode="auto">
          <a:xfrm>
            <a:off x="5869684" y="5629846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8" name="Shape 312">
            <a:extLst>
              <a:ext uri="{FF2B5EF4-FFF2-40B4-BE49-F238E27FC236}">
                <a16:creationId xmlns:a16="http://schemas.microsoft.com/office/drawing/2014/main" id="{80A19E4E-1FBD-47C9-96D4-ABE590409776}"/>
              </a:ext>
            </a:extLst>
          </p:cNvPr>
          <p:cNvSpPr/>
          <p:nvPr/>
        </p:nvSpPr>
        <p:spPr>
          <a:xfrm>
            <a:off x="9580919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1" name="Shape 312">
            <a:extLst>
              <a:ext uri="{FF2B5EF4-FFF2-40B4-BE49-F238E27FC236}">
                <a16:creationId xmlns:a16="http://schemas.microsoft.com/office/drawing/2014/main" id="{6BBC1CFF-C1CA-4534-A7BD-C63170434E7C}"/>
              </a:ext>
            </a:extLst>
          </p:cNvPr>
          <p:cNvSpPr/>
          <p:nvPr/>
        </p:nvSpPr>
        <p:spPr>
          <a:xfrm>
            <a:off x="10092240" y="4749028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5" name="Shape 312">
            <a:extLst>
              <a:ext uri="{FF2B5EF4-FFF2-40B4-BE49-F238E27FC236}">
                <a16:creationId xmlns:a16="http://schemas.microsoft.com/office/drawing/2014/main" id="{AF864F23-D2FA-4A6F-A2F3-7A0DC355CE02}"/>
              </a:ext>
            </a:extLst>
          </p:cNvPr>
          <p:cNvSpPr/>
          <p:nvPr/>
        </p:nvSpPr>
        <p:spPr>
          <a:xfrm>
            <a:off x="10603561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6" name="Shape 312">
            <a:extLst>
              <a:ext uri="{FF2B5EF4-FFF2-40B4-BE49-F238E27FC236}">
                <a16:creationId xmlns:a16="http://schemas.microsoft.com/office/drawing/2014/main" id="{E16A578A-0FB0-42E6-B09F-814DFBE2A85B}"/>
              </a:ext>
            </a:extLst>
          </p:cNvPr>
          <p:cNvSpPr/>
          <p:nvPr/>
        </p:nvSpPr>
        <p:spPr>
          <a:xfrm>
            <a:off x="11114881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8" name="Shape 312">
            <a:extLst>
              <a:ext uri="{FF2B5EF4-FFF2-40B4-BE49-F238E27FC236}">
                <a16:creationId xmlns:a16="http://schemas.microsoft.com/office/drawing/2014/main" id="{4D601B02-F216-4DD9-A1F3-2666015C53A2}"/>
              </a:ext>
            </a:extLst>
          </p:cNvPr>
          <p:cNvSpPr/>
          <p:nvPr/>
        </p:nvSpPr>
        <p:spPr>
          <a:xfrm>
            <a:off x="9583416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9" name="Shape 312">
            <a:extLst>
              <a:ext uri="{FF2B5EF4-FFF2-40B4-BE49-F238E27FC236}">
                <a16:creationId xmlns:a16="http://schemas.microsoft.com/office/drawing/2014/main" id="{58A4551B-6283-4731-8429-82414B1E46DE}"/>
              </a:ext>
            </a:extLst>
          </p:cNvPr>
          <p:cNvSpPr/>
          <p:nvPr/>
        </p:nvSpPr>
        <p:spPr>
          <a:xfrm>
            <a:off x="10094737" y="4251975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Shape 312">
            <a:extLst>
              <a:ext uri="{FF2B5EF4-FFF2-40B4-BE49-F238E27FC236}">
                <a16:creationId xmlns:a16="http://schemas.microsoft.com/office/drawing/2014/main" id="{50607B50-0DFD-43D3-A5C3-89FFA6E2640A}"/>
              </a:ext>
            </a:extLst>
          </p:cNvPr>
          <p:cNvSpPr/>
          <p:nvPr/>
        </p:nvSpPr>
        <p:spPr>
          <a:xfrm>
            <a:off x="10606058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1" name="Shape 312">
            <a:extLst>
              <a:ext uri="{FF2B5EF4-FFF2-40B4-BE49-F238E27FC236}">
                <a16:creationId xmlns:a16="http://schemas.microsoft.com/office/drawing/2014/main" id="{1CBF28AD-3F87-4D54-A33B-2F7938941FAD}"/>
              </a:ext>
            </a:extLst>
          </p:cNvPr>
          <p:cNvSpPr/>
          <p:nvPr/>
        </p:nvSpPr>
        <p:spPr>
          <a:xfrm>
            <a:off x="11117378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300D489-377E-4A97-B41C-965DA92C4996}"/>
              </a:ext>
            </a:extLst>
          </p:cNvPr>
          <p:cNvSpPr/>
          <p:nvPr/>
        </p:nvSpPr>
        <p:spPr>
          <a:xfrm>
            <a:off x="196562" y="1434868"/>
            <a:ext cx="4940727" cy="3138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For each copy run, you</a:t>
            </a:r>
            <a:r>
              <a:rPr lang="zh-CN" altLang="en-US" sz="1799">
                <a:solidFill>
                  <a:srgbClr val="353535"/>
                </a:solidFill>
                <a:latin typeface="Segoe UI Semilight"/>
              </a:rPr>
              <a:t> </a:t>
            </a:r>
            <a:r>
              <a:rPr lang="en-US" altLang="zh-CN" sz="1799">
                <a:solidFill>
                  <a:srgbClr val="353535"/>
                </a:solidFill>
                <a:latin typeface="Segoe UI Semilight"/>
              </a:rPr>
              <a:t>can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 specify how much resource to use for copy by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Data Integration Units (DIUs)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DIU is a combination of CPU, memory, and network resource allocation.</a:t>
            </a:r>
          </a:p>
          <a:p>
            <a:pPr defTabSz="914126">
              <a:defRPr/>
            </a:pPr>
            <a:endParaRPr lang="en-US" sz="1799">
              <a:solidFill>
                <a:srgbClr val="0070C0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Default behavior based on your data pattern – larger file size &amp; file count, larger DIUs. 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Serverless &amp; pay-as-you-go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F7A8F24-B21A-40DD-94C6-BF4CB3875348}"/>
              </a:ext>
            </a:extLst>
          </p:cNvPr>
          <p:cNvCxnSpPr>
            <a:cxnSpLocks/>
            <a:stCxn id="29" idx="0"/>
          </p:cNvCxnSpPr>
          <p:nvPr/>
        </p:nvCxnSpPr>
        <p:spPr>
          <a:xfrm flipH="1" flipV="1">
            <a:off x="8436631" y="2583997"/>
            <a:ext cx="2123086" cy="128327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1">
            <a:extLst>
              <a:ext uri="{FF2B5EF4-FFF2-40B4-BE49-F238E27FC236}">
                <a16:creationId xmlns:a16="http://schemas.microsoft.com/office/drawing/2014/main" id="{F9139A97-F0F2-4E22-9D53-9AA8054E5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58" y="290330"/>
            <a:ext cx="4794466" cy="899431"/>
          </a:xfrm>
        </p:spPr>
        <p:txBody>
          <a:bodyPr/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Cloud-to-cloud Cop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2CE997D-B9BB-47B6-9F99-9A8AFDB8C4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570" y="4774641"/>
            <a:ext cx="4777634" cy="82706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19118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6096001" y="627773"/>
            <a:ext cx="5377148" cy="216579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836399" y="2013584"/>
            <a:ext cx="4195083" cy="779987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DF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>
            <a:off x="8964643" y="1646453"/>
            <a:ext cx="1" cy="3576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842828" y="1327360"/>
            <a:ext cx="4195083" cy="29510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21127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5928342" y="4585413"/>
            <a:ext cx="1432739" cy="498445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1242193"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lf-hosted IR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340534" y="401435"/>
            <a:ext cx="467621" cy="798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340533" y="737881"/>
            <a:ext cx="480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702352" y="156035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682006" y="499264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at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8004222" y="2287017"/>
            <a:ext cx="1920841" cy="4143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8323141" y="2453072"/>
            <a:ext cx="226981" cy="114172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8739676" y="2449065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9172041" y="2357956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9172041" y="2560209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8553692" y="2506151"/>
            <a:ext cx="18598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988932" y="2415043"/>
            <a:ext cx="183108" cy="10460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966656" y="2506152"/>
            <a:ext cx="205384" cy="11114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9565400" y="2557011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9416034" y="2627591"/>
            <a:ext cx="15510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64200DD0-D3DA-4CB7-B918-33C27B988E75}"/>
              </a:ext>
            </a:extLst>
          </p:cNvPr>
          <p:cNvCxnSpPr>
            <a:cxnSpLocks/>
            <a:stCxn id="58" idx="1"/>
            <a:endCxn id="91" idx="3"/>
          </p:cNvCxnSpPr>
          <p:nvPr/>
        </p:nvCxnSpPr>
        <p:spPr>
          <a:xfrm flipH="1" flipV="1">
            <a:off x="8464517" y="4545551"/>
            <a:ext cx="970359" cy="1318729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8011345" y="2288524"/>
            <a:ext cx="1554054" cy="162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176">
                <a:solidFill>
                  <a:srgbClr val="737373"/>
                </a:solidFill>
                <a:latin typeface="Segoe UI Semilight"/>
                <a:cs typeface="Segoe UI" pitchFamily="34" charset="0"/>
              </a:rPr>
              <a:t>Pipeli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3BE2795-A704-445B-8FE3-CC61D41066E0}"/>
              </a:ext>
            </a:extLst>
          </p:cNvPr>
          <p:cNvSpPr/>
          <p:nvPr/>
        </p:nvSpPr>
        <p:spPr bwMode="auto">
          <a:xfrm>
            <a:off x="-3642" y="1867"/>
            <a:ext cx="5140930" cy="685524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F24FA54-9ADC-46C9-8F5E-9E84F17A4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9717" y="2188123"/>
            <a:ext cx="425086" cy="425544"/>
          </a:xfrm>
          <a:prstGeom prst="rect">
            <a:avLst/>
          </a:prstGeom>
        </p:spPr>
      </p:pic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stCxn id="91" idx="1"/>
            <a:endCxn id="65" idx="3"/>
          </p:cNvCxnSpPr>
          <p:nvPr/>
        </p:nvCxnSpPr>
        <p:spPr>
          <a:xfrm flipH="1">
            <a:off x="7470946" y="4545549"/>
            <a:ext cx="494127" cy="1318364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Rounded Rectangle 8">
            <a:extLst>
              <a:ext uri="{FF2B5EF4-FFF2-40B4-BE49-F238E27FC236}">
                <a16:creationId xmlns:a16="http://schemas.microsoft.com/office/drawing/2014/main" id="{BF01306E-D157-4662-8FAC-9076B49B77AF}"/>
              </a:ext>
            </a:extLst>
          </p:cNvPr>
          <p:cNvSpPr/>
          <p:nvPr/>
        </p:nvSpPr>
        <p:spPr bwMode="auto">
          <a:xfrm>
            <a:off x="9434877" y="5629847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5" name="Rounded Rectangle 8">
            <a:extLst>
              <a:ext uri="{FF2B5EF4-FFF2-40B4-BE49-F238E27FC236}">
                <a16:creationId xmlns:a16="http://schemas.microsoft.com/office/drawing/2014/main" id="{11969639-7746-4D3E-82FE-3160CCC30BC5}"/>
              </a:ext>
            </a:extLst>
          </p:cNvPr>
          <p:cNvSpPr/>
          <p:nvPr/>
        </p:nvSpPr>
        <p:spPr bwMode="auto">
          <a:xfrm>
            <a:off x="5907415" y="5629481"/>
            <a:ext cx="156353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On-</a:t>
            </a:r>
            <a:r>
              <a:rPr lang="en-US" sz="1600" b="1" err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prem</a:t>
            </a: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Data Stores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B428AED6-AC8A-4C60-95B5-95562BCBDEC1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50000"/>
          </a:blip>
          <a:stretch>
            <a:fillRect/>
          </a:stretch>
        </p:blipFill>
        <p:spPr>
          <a:xfrm>
            <a:off x="5373390" y="5606840"/>
            <a:ext cx="388049" cy="481019"/>
          </a:xfrm>
          <a:prstGeom prst="rect">
            <a:avLst/>
          </a:prstGeom>
        </p:spPr>
      </p:pic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98B23F5F-9E66-489D-AF71-61BBB7E12B94}"/>
              </a:ext>
            </a:extLst>
          </p:cNvPr>
          <p:cNvSpPr/>
          <p:nvPr/>
        </p:nvSpPr>
        <p:spPr bwMode="auto">
          <a:xfrm>
            <a:off x="5533515" y="4224208"/>
            <a:ext cx="3016606" cy="1983661"/>
          </a:xfrm>
          <a:prstGeom prst="roundRect">
            <a:avLst/>
          </a:prstGeom>
          <a:noFill/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endParaRPr lang="en-US" sz="1372" b="1" kern="0">
              <a:solidFill>
                <a:srgbClr val="404040">
                  <a:lumMod val="75000"/>
                </a:srgbClr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90F3E73-5A22-4749-82A0-D4D62CFAF012}"/>
              </a:ext>
            </a:extLst>
          </p:cNvPr>
          <p:cNvGrpSpPr/>
          <p:nvPr/>
        </p:nvGrpSpPr>
        <p:grpSpPr>
          <a:xfrm>
            <a:off x="6611293" y="3988572"/>
            <a:ext cx="1031352" cy="409075"/>
            <a:chOff x="1570037" y="2467828"/>
            <a:chExt cx="1052307" cy="417387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DEA6D53-7402-4911-B73E-7E0CC8A0D4DB}"/>
                </a:ext>
              </a:extLst>
            </p:cNvPr>
            <p:cNvSpPr/>
            <p:nvPr/>
          </p:nvSpPr>
          <p:spPr bwMode="auto">
            <a:xfrm>
              <a:off x="1715190" y="2572174"/>
              <a:ext cx="762000" cy="20869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2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Graphic 55" descr="Table">
              <a:extLst>
                <a:ext uri="{FF2B5EF4-FFF2-40B4-BE49-F238E27FC236}">
                  <a16:creationId xmlns:a16="http://schemas.microsoft.com/office/drawing/2014/main" id="{5F06400D-C9C6-466B-AC81-43B56A8C2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70037" y="2467828"/>
              <a:ext cx="1052307" cy="417387"/>
            </a:xfrm>
            <a:prstGeom prst="rect">
              <a:avLst/>
            </a:prstGeom>
          </p:spPr>
        </p:pic>
      </p:grpSp>
      <p:pic>
        <p:nvPicPr>
          <p:cNvPr id="60" name="Graphic 59" descr="Bonfire">
            <a:extLst>
              <a:ext uri="{FF2B5EF4-FFF2-40B4-BE49-F238E27FC236}">
                <a16:creationId xmlns:a16="http://schemas.microsoft.com/office/drawing/2014/main" id="{6D7BCDFE-2652-44A3-A7F7-1FA7335898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23725" y="3683300"/>
            <a:ext cx="412911" cy="412911"/>
          </a:xfrm>
          <a:prstGeom prst="rect">
            <a:avLst/>
          </a:prstGeom>
        </p:spPr>
      </p:pic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7A45403-FA1E-439A-AB26-24B0832D0047}"/>
              </a:ext>
            </a:extLst>
          </p:cNvPr>
          <p:cNvCxnSpPr>
            <a:cxnSpLocks/>
            <a:stCxn id="29" idx="0"/>
          </p:cNvCxnSpPr>
          <p:nvPr/>
        </p:nvCxnSpPr>
        <p:spPr>
          <a:xfrm flipV="1">
            <a:off x="6644710" y="2571738"/>
            <a:ext cx="1772538" cy="201367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90">
            <a:extLst>
              <a:ext uri="{FF2B5EF4-FFF2-40B4-BE49-F238E27FC236}">
                <a16:creationId xmlns:a16="http://schemas.microsoft.com/office/drawing/2014/main" id="{BB7FBCF2-5949-4536-913D-8E93522A618B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4341013"/>
            <a:ext cx="499444" cy="409075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D1BF0F7B-FDEB-4F54-ACE9-FF7142A360F3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4795368"/>
            <a:ext cx="499444" cy="409075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8563E6E3-F713-458B-B0D6-8595A81AC8D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5249724"/>
            <a:ext cx="499444" cy="409075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B9AE1FB3-E7AF-449B-AA3E-36A4011E1BB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5704080"/>
            <a:ext cx="499444" cy="409075"/>
          </a:xfrm>
          <a:prstGeom prst="rect">
            <a:avLst/>
          </a:prstGeom>
        </p:spPr>
      </p:pic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B1E5E1A2-5391-41CB-9A5F-438AC6958BC9}"/>
              </a:ext>
            </a:extLst>
          </p:cNvPr>
          <p:cNvCxnSpPr>
            <a:cxnSpLocks/>
            <a:stCxn id="91" idx="1"/>
            <a:endCxn id="29" idx="3"/>
          </p:cNvCxnSpPr>
          <p:nvPr/>
        </p:nvCxnSpPr>
        <p:spPr>
          <a:xfrm flipH="1">
            <a:off x="7361080" y="4545550"/>
            <a:ext cx="603993" cy="28908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2CD83AB7-C86C-4C43-ACCE-AC432519365B}"/>
              </a:ext>
            </a:extLst>
          </p:cNvPr>
          <p:cNvCxnSpPr>
            <a:cxnSpLocks/>
            <a:stCxn id="29" idx="3"/>
            <a:endCxn id="92" idx="1"/>
          </p:cNvCxnSpPr>
          <p:nvPr/>
        </p:nvCxnSpPr>
        <p:spPr>
          <a:xfrm>
            <a:off x="7361080" y="4834635"/>
            <a:ext cx="603993" cy="165270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85208332-6AC4-4C7B-9258-66DFE0FAA1C2}"/>
              </a:ext>
            </a:extLst>
          </p:cNvPr>
          <p:cNvCxnSpPr>
            <a:cxnSpLocks/>
            <a:stCxn id="29" idx="3"/>
            <a:endCxn id="93" idx="1"/>
          </p:cNvCxnSpPr>
          <p:nvPr/>
        </p:nvCxnSpPr>
        <p:spPr>
          <a:xfrm>
            <a:off x="7361080" y="4834635"/>
            <a:ext cx="603993" cy="61962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52C0A0DF-8907-480D-A2E7-8544DF970E7D}"/>
              </a:ext>
            </a:extLst>
          </p:cNvPr>
          <p:cNvCxnSpPr>
            <a:cxnSpLocks/>
            <a:stCxn id="94" idx="1"/>
            <a:endCxn id="29" idx="3"/>
          </p:cNvCxnSpPr>
          <p:nvPr/>
        </p:nvCxnSpPr>
        <p:spPr>
          <a:xfrm flipH="1" flipV="1">
            <a:off x="7361080" y="4834636"/>
            <a:ext cx="603993" cy="107398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93516EB-E9ED-4BD7-8C2E-DB6244CDC08B}"/>
              </a:ext>
            </a:extLst>
          </p:cNvPr>
          <p:cNvCxnSpPr>
            <a:cxnSpLocks/>
            <a:stCxn id="92" idx="1"/>
            <a:endCxn id="65" idx="3"/>
          </p:cNvCxnSpPr>
          <p:nvPr/>
        </p:nvCxnSpPr>
        <p:spPr>
          <a:xfrm flipH="1">
            <a:off x="7470946" y="4999905"/>
            <a:ext cx="494127" cy="864008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EF3DA910-0F17-4146-967B-E95F2EFE8139}"/>
              </a:ext>
            </a:extLst>
          </p:cNvPr>
          <p:cNvCxnSpPr>
            <a:cxnSpLocks/>
            <a:stCxn id="93" idx="1"/>
            <a:endCxn id="65" idx="3"/>
          </p:cNvCxnSpPr>
          <p:nvPr/>
        </p:nvCxnSpPr>
        <p:spPr>
          <a:xfrm flipH="1">
            <a:off x="7470946" y="5454261"/>
            <a:ext cx="494127" cy="409652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29514B0B-1AB8-4767-9E10-E6E269B4F2A5}"/>
              </a:ext>
            </a:extLst>
          </p:cNvPr>
          <p:cNvCxnSpPr>
            <a:cxnSpLocks/>
            <a:stCxn id="94" idx="1"/>
            <a:endCxn id="65" idx="3"/>
          </p:cNvCxnSpPr>
          <p:nvPr/>
        </p:nvCxnSpPr>
        <p:spPr>
          <a:xfrm flipH="1" flipV="1">
            <a:off x="7470946" y="5863914"/>
            <a:ext cx="494127" cy="44703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097A37CD-2436-46D1-A0FE-90B452BC8C43}"/>
              </a:ext>
            </a:extLst>
          </p:cNvPr>
          <p:cNvCxnSpPr>
            <a:cxnSpLocks/>
            <a:stCxn id="58" idx="1"/>
            <a:endCxn id="92" idx="3"/>
          </p:cNvCxnSpPr>
          <p:nvPr/>
        </p:nvCxnSpPr>
        <p:spPr>
          <a:xfrm flipH="1" flipV="1">
            <a:off x="8464517" y="4999905"/>
            <a:ext cx="970359" cy="864374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DC59E39B-2852-4BBD-83ED-FC9829AD5345}"/>
              </a:ext>
            </a:extLst>
          </p:cNvPr>
          <p:cNvCxnSpPr>
            <a:cxnSpLocks/>
            <a:stCxn id="58" idx="1"/>
            <a:endCxn id="93" idx="3"/>
          </p:cNvCxnSpPr>
          <p:nvPr/>
        </p:nvCxnSpPr>
        <p:spPr>
          <a:xfrm flipH="1" flipV="1">
            <a:off x="8464517" y="5454261"/>
            <a:ext cx="970359" cy="410018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72EBEC76-B6FA-4FF7-94EF-D8798CB9097F}"/>
              </a:ext>
            </a:extLst>
          </p:cNvPr>
          <p:cNvCxnSpPr>
            <a:cxnSpLocks/>
            <a:stCxn id="58" idx="1"/>
            <a:endCxn id="94" idx="3"/>
          </p:cNvCxnSpPr>
          <p:nvPr/>
        </p:nvCxnSpPr>
        <p:spPr>
          <a:xfrm flipH="1">
            <a:off x="8464517" y="5864280"/>
            <a:ext cx="970359" cy="44337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BDCACB5E-7D1E-42CB-89D1-1094A4B63223}"/>
              </a:ext>
            </a:extLst>
          </p:cNvPr>
          <p:cNvSpPr/>
          <p:nvPr/>
        </p:nvSpPr>
        <p:spPr>
          <a:xfrm>
            <a:off x="158637" y="1367422"/>
            <a:ext cx="4940727" cy="3692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For High Availability and scale-out, you can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register up to 4 nodes to each self-hosted IR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altLang="zh-CN" sz="1799">
                <a:solidFill>
                  <a:srgbClr val="353535"/>
                </a:solidFill>
                <a:latin typeface="Segoe UI Semilight"/>
              </a:rPr>
              <a:t>For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 each IR node, you can control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# of activity runs to execute at the same time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, default behavior is determined based on IR machine spec (CPU/memory)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Active-active mode: requests are dispatched to nodes using round-robin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Jobs will be waiting in a queue if compacity is full, until available slot being freed up.</a:t>
            </a:r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52BB2947-F494-4FF9-A48C-ED6F18C01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58" y="290330"/>
            <a:ext cx="4794466" cy="899431"/>
          </a:xfrm>
        </p:spPr>
        <p:txBody>
          <a:bodyPr/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Hybrid Copy</a:t>
            </a:r>
          </a:p>
        </p:txBody>
      </p:sp>
    </p:spTree>
    <p:extLst>
      <p:ext uri="{BB962C8B-B14F-4D97-AF65-F5344CB8AC3E}">
        <p14:creationId xmlns:p14="http://schemas.microsoft.com/office/powerpoint/2010/main" val="331266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10653"/>
            <a:ext cx="11655840" cy="899665"/>
          </a:xfrm>
        </p:spPr>
        <p:txBody>
          <a:bodyPr>
            <a:normAutofit/>
          </a:bodyPr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Advanced Performance Optimizatio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4C45063-6CD9-4CA5-B62A-7528214A7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5563003"/>
              </p:ext>
            </p:extLst>
          </p:nvPr>
        </p:nvGraphicFramePr>
        <p:xfrm>
          <a:off x="408142" y="652754"/>
          <a:ext cx="11515777" cy="607556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404632">
                  <a:extLst>
                    <a:ext uri="{9D8B030D-6E8A-4147-A177-3AD203B41FA5}">
                      <a16:colId xmlns:a16="http://schemas.microsoft.com/office/drawing/2014/main" val="2814221199"/>
                    </a:ext>
                  </a:extLst>
                </a:gridCol>
                <a:gridCol w="5272553">
                  <a:extLst>
                    <a:ext uri="{9D8B030D-6E8A-4147-A177-3AD203B41FA5}">
                      <a16:colId xmlns:a16="http://schemas.microsoft.com/office/drawing/2014/main" val="287142749"/>
                    </a:ext>
                  </a:extLst>
                </a:gridCol>
                <a:gridCol w="3838592">
                  <a:extLst>
                    <a:ext uri="{9D8B030D-6E8A-4147-A177-3AD203B41FA5}">
                      <a16:colId xmlns:a16="http://schemas.microsoft.com/office/drawing/2014/main" val="3497765145"/>
                    </a:ext>
                  </a:extLst>
                </a:gridCol>
              </a:tblGrid>
              <a:tr h="429730">
                <a:tc>
                  <a:txBody>
                    <a:bodyPr/>
                    <a:lstStyle/>
                    <a:p>
                      <a:r>
                        <a:rPr lang="en-US" sz="1600"/>
                        <a:t>Copy Scenar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S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3087476"/>
                  </a:ext>
                </a:extLst>
              </a:tr>
              <a:tr h="1541446">
                <a:tc>
                  <a:txBody>
                    <a:bodyPr/>
                    <a:lstStyle/>
                    <a:p>
                      <a:r>
                        <a:rPr lang="en-US" sz="1600"/>
                        <a:t>Loading from Azure Blob or ADLS into SQL D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</a:t>
                      </a:r>
                      <a:r>
                        <a:rPr lang="en-US" sz="1600" err="1"/>
                        <a:t>Polybase</a:t>
                      </a:r>
                      <a:r>
                        <a:rPr lang="en-US" sz="1600"/>
                        <a:t> instead of BULKINSERT.</a:t>
                      </a:r>
                    </a:p>
                    <a:p>
                      <a:r>
                        <a:rPr lang="en-US" sz="1600"/>
                        <a:t>Applicable when format is text, ORC, Parquet and meets </a:t>
                      </a:r>
                      <a:r>
                        <a:rPr lang="en-US" sz="1600">
                          <a:hlinkClick r:id="rId3"/>
                        </a:rPr>
                        <a:t>these criteria</a:t>
                      </a:r>
                      <a:r>
                        <a:rPr lang="en-US" sz="160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7425330"/>
                  </a:ext>
                </a:extLst>
              </a:tr>
              <a:tr h="1977887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/>
                        <a:t>Loading from data sources other than Azure Blob/ADLS into SQL D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staged copy via Azure Blo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364421"/>
                  </a:ext>
                </a:extLst>
              </a:tr>
              <a:tr h="2126506">
                <a:tc>
                  <a:txBody>
                    <a:bodyPr/>
                    <a:lstStyle/>
                    <a:p>
                      <a:r>
                        <a:rPr lang="en-US" sz="1600"/>
                        <a:t>Loading data from Amazon Redshif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UNLOAD to copy data from Amazon Redshift to Amazon S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4689845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6E794B5-C79C-4367-802D-D77F353048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548" y="3422181"/>
            <a:ext cx="3936713" cy="72108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CE5D2D7-B535-45C0-8AC4-C77A278B462C}"/>
              </a:ext>
            </a:extLst>
          </p:cNvPr>
          <p:cNvSpPr/>
          <p:nvPr/>
        </p:nvSpPr>
        <p:spPr>
          <a:xfrm>
            <a:off x="8349731" y="1123718"/>
            <a:ext cx="324303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type": "Copy",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/>
              <a:t>            "source": { "type": "</a:t>
            </a:r>
            <a:r>
              <a:rPr lang="en-US" sz="900" err="1"/>
              <a:t>BlobSource</a:t>
            </a:r>
            <a:r>
              <a:rPr lang="en-US" sz="900"/>
              <a:t>“ },</a:t>
            </a:r>
          </a:p>
          <a:p>
            <a:r>
              <a:rPr lang="en-US" sz="900"/>
              <a:t>            "sink": {</a:t>
            </a:r>
          </a:p>
          <a:p>
            <a:r>
              <a:rPr lang="en-US" sz="900"/>
              <a:t>                "type": "</a:t>
            </a:r>
            <a:r>
              <a:rPr lang="en-US" sz="900" err="1"/>
              <a:t>SqlDWSink</a:t>
            </a:r>
            <a:r>
              <a:rPr lang="en-US" sz="900"/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allowPolyBase</a:t>
            </a:r>
            <a:r>
              <a:rPr lang="en-US" sz="900" b="1">
                <a:solidFill>
                  <a:srgbClr val="C00000"/>
                </a:solidFill>
              </a:rPr>
              <a:t>": true</a:t>
            </a:r>
          </a:p>
          <a:p>
            <a:r>
              <a:rPr lang="en-US" sz="900"/>
              <a:t>            } } }</a:t>
            </a:r>
          </a:p>
          <a:p>
            <a:r>
              <a:rPr lang="en-US" sz="900"/>
              <a:t>]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F5310F-1B5B-4C6D-B541-492600E4DD8E}"/>
              </a:ext>
            </a:extLst>
          </p:cNvPr>
          <p:cNvSpPr/>
          <p:nvPr/>
        </p:nvSpPr>
        <p:spPr>
          <a:xfrm>
            <a:off x="8349731" y="2654824"/>
            <a:ext cx="304800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"</a:t>
            </a:r>
            <a:r>
              <a:rPr lang="en-US" sz="900" b="1" err="1">
                <a:solidFill>
                  <a:srgbClr val="C00000"/>
                </a:solidFill>
              </a:rPr>
              <a:t>enableStaging</a:t>
            </a:r>
            <a:r>
              <a:rPr lang="en-US" sz="900" b="1">
                <a:solidFill>
                  <a:srgbClr val="C00000"/>
                </a:solidFill>
              </a:rPr>
              <a:t>": true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"</a:t>
            </a:r>
            <a:r>
              <a:rPr lang="en-US" sz="900" b="1" err="1">
                <a:solidFill>
                  <a:srgbClr val="C00000"/>
                </a:solidFill>
              </a:rPr>
              <a:t>stagingSettings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linkedServiceName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</a:t>
            </a:r>
            <a:r>
              <a:rPr lang="en-US" sz="900" b="1" err="1">
                <a:solidFill>
                  <a:srgbClr val="C00000"/>
                </a:solidFill>
              </a:rPr>
              <a:t>referenceName</a:t>
            </a:r>
            <a:r>
              <a:rPr lang="en-US" sz="900" b="1">
                <a:solidFill>
                  <a:srgbClr val="C00000"/>
                </a:solidFill>
              </a:rPr>
              <a:t>": "</a:t>
            </a:r>
            <a:r>
              <a:rPr lang="en-US" sz="900" b="1" err="1">
                <a:solidFill>
                  <a:srgbClr val="C00000"/>
                </a:solidFill>
              </a:rPr>
              <a:t>MyStagingBlob</a:t>
            </a:r>
            <a:r>
              <a:rPr lang="en-US" sz="900" b="1">
                <a:solidFill>
                  <a:srgbClr val="C00000"/>
                </a:solidFill>
              </a:rPr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type": "</a:t>
            </a:r>
            <a:r>
              <a:rPr lang="en-US" sz="900" b="1" err="1">
                <a:solidFill>
                  <a:srgbClr val="C00000"/>
                </a:solidFill>
              </a:rPr>
              <a:t>LinkedServiceReference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}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path": "</a:t>
            </a:r>
            <a:r>
              <a:rPr lang="en-US" sz="900" b="1" err="1">
                <a:solidFill>
                  <a:srgbClr val="C00000"/>
                </a:solidFill>
              </a:rPr>
              <a:t>stagingcontainer</a:t>
            </a:r>
            <a:r>
              <a:rPr lang="en-US" sz="900" b="1">
                <a:solidFill>
                  <a:srgbClr val="C00000"/>
                </a:solidFill>
              </a:rPr>
              <a:t>/path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enableCompression</a:t>
            </a:r>
            <a:r>
              <a:rPr lang="en-US" sz="900" b="1">
                <a:solidFill>
                  <a:srgbClr val="C00000"/>
                </a:solidFill>
              </a:rPr>
              <a:t>": true</a:t>
            </a:r>
          </a:p>
          <a:p>
            <a:r>
              <a:rPr lang="en-US" sz="900"/>
              <a:t>            } } }</a:t>
            </a:r>
          </a:p>
          <a:p>
            <a:r>
              <a:rPr lang="en-US" sz="900"/>
              <a:t>]</a:t>
            </a:r>
          </a:p>
        </p:txBody>
      </p:sp>
      <p:pic>
        <p:nvPicPr>
          <p:cNvPr id="12" name="Picture 11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580A9F64-B1F9-484B-A131-A1BF911F3D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566" y="5528261"/>
            <a:ext cx="5131507" cy="80967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4F5BA3A-D60C-4864-AEF9-E4B5EAABB981}"/>
              </a:ext>
            </a:extLst>
          </p:cNvPr>
          <p:cNvSpPr/>
          <p:nvPr/>
        </p:nvSpPr>
        <p:spPr>
          <a:xfrm>
            <a:off x="8349731" y="4587405"/>
            <a:ext cx="3332922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/>
              <a:t>            "source": {</a:t>
            </a:r>
          </a:p>
          <a:p>
            <a:r>
              <a:rPr lang="en-US" sz="900"/>
              <a:t>                "type": "</a:t>
            </a:r>
            <a:r>
              <a:rPr lang="en-US" sz="900" err="1"/>
              <a:t>AmazonRedshiftSource</a:t>
            </a:r>
            <a:r>
              <a:rPr lang="en-US" sz="900"/>
              <a:t>",</a:t>
            </a:r>
          </a:p>
          <a:p>
            <a:r>
              <a:rPr lang="en-US" sz="900"/>
              <a:t>                "query": "select * from </a:t>
            </a:r>
            <a:r>
              <a:rPr lang="en-US" sz="900" err="1"/>
              <a:t>MyTable</a:t>
            </a:r>
            <a:r>
              <a:rPr lang="en-US" sz="900"/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redshiftUnloadSettings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s3LinkedServiceName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    "</a:t>
            </a:r>
            <a:r>
              <a:rPr lang="en-US" sz="900" b="1" err="1">
                <a:solidFill>
                  <a:srgbClr val="C00000"/>
                </a:solidFill>
              </a:rPr>
              <a:t>referenceName</a:t>
            </a:r>
            <a:r>
              <a:rPr lang="en-US" sz="900" b="1">
                <a:solidFill>
                  <a:srgbClr val="C00000"/>
                </a:solidFill>
              </a:rPr>
              <a:t>": "AmazonS3LinkedService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    "type": "</a:t>
            </a:r>
            <a:r>
              <a:rPr lang="en-US" sz="900" b="1" err="1">
                <a:solidFill>
                  <a:srgbClr val="C00000"/>
                </a:solidFill>
              </a:rPr>
              <a:t>LinkedServiceReference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}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</a:t>
            </a:r>
            <a:r>
              <a:rPr lang="en-US" sz="900" b="1" err="1">
                <a:solidFill>
                  <a:srgbClr val="C00000"/>
                </a:solidFill>
              </a:rPr>
              <a:t>bucketName</a:t>
            </a:r>
            <a:r>
              <a:rPr lang="en-US" sz="900" b="1">
                <a:solidFill>
                  <a:srgbClr val="C00000"/>
                </a:solidFill>
              </a:rPr>
              <a:t>": "</a:t>
            </a:r>
            <a:r>
              <a:rPr lang="en-US" sz="900" b="1" err="1">
                <a:solidFill>
                  <a:srgbClr val="C00000"/>
                </a:solidFill>
              </a:rPr>
              <a:t>bucketForUnload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/>
              <a:t>                }</a:t>
            </a:r>
          </a:p>
          <a:p>
            <a:r>
              <a:rPr lang="en-US" sz="900"/>
              <a:t>            },</a:t>
            </a:r>
          </a:p>
          <a:p>
            <a:r>
              <a:rPr lang="en-US" sz="90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551723729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1">
            <a:extLst>
              <a:ext uri="{FF2B5EF4-FFF2-40B4-BE49-F238E27FC236}">
                <a16:creationId xmlns:a16="http://schemas.microsoft.com/office/drawing/2014/main" id="{CF26B265-9834-4B81-80EB-16C9BBDDA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561" y="155051"/>
            <a:ext cx="10511370" cy="1150645"/>
          </a:xfrm>
        </p:spPr>
        <p:txBody>
          <a:bodyPr>
            <a:normAutofit/>
          </a:bodyPr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Security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6E3A5D5-6FAD-4FA3-9A02-406F8EBEA03A}"/>
              </a:ext>
            </a:extLst>
          </p:cNvPr>
          <p:cNvSpPr txBox="1"/>
          <p:nvPr/>
        </p:nvSpPr>
        <p:spPr>
          <a:xfrm>
            <a:off x="883007" y="1705609"/>
            <a:ext cx="4798873" cy="132343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e to Azure data services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using Managed Service Identify (MSI) or Service Principal</a:t>
            </a: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505050"/>
              </a:solidFill>
              <a:latin typeface="Segoe UI Semilight"/>
            </a:endParaRP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e to external data stores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using basic auth, key-based auth, or Windows auth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C2A9143-0CF3-415D-88A8-76169FAF0B5C}"/>
              </a:ext>
            </a:extLst>
          </p:cNvPr>
          <p:cNvSpPr txBox="1"/>
          <p:nvPr/>
        </p:nvSpPr>
        <p:spPr>
          <a:xfrm>
            <a:off x="883008" y="1336954"/>
            <a:ext cx="2903359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ION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4AB17DD-BD3E-4CB3-8CC1-6EFBCCA02E2E}"/>
              </a:ext>
            </a:extLst>
          </p:cNvPr>
          <p:cNvCxnSpPr>
            <a:cxnSpLocks/>
          </p:cNvCxnSpPr>
          <p:nvPr/>
        </p:nvCxnSpPr>
        <p:spPr>
          <a:xfrm>
            <a:off x="5867400" y="838200"/>
            <a:ext cx="0" cy="548640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8B0488B-39D7-48F9-9930-40B02BB7E46A}"/>
              </a:ext>
            </a:extLst>
          </p:cNvPr>
          <p:cNvCxnSpPr>
            <a:cxnSpLocks/>
          </p:cNvCxnSpPr>
          <p:nvPr/>
        </p:nvCxnSpPr>
        <p:spPr>
          <a:xfrm>
            <a:off x="838200" y="3800736"/>
            <a:ext cx="10515600" cy="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</a:ln>
          <a:effectLst/>
        </p:spPr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A36C3A77-1937-4B72-B14C-017956CA6F0E}"/>
              </a:ext>
            </a:extLst>
          </p:cNvPr>
          <p:cNvSpPr txBox="1"/>
          <p:nvPr/>
        </p:nvSpPr>
        <p:spPr>
          <a:xfrm>
            <a:off x="6394492" y="4474590"/>
            <a:ext cx="5348068" cy="1850010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is encrypted at rest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by leveraging data store’s encryption mechanisms: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Transparent Data Encryption (TDE) in Azure SQL Data Warehouse and Azure SQL Database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Storage Service Encryption (SSE) for Azure Storage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Automatic encryption for ADLS, etc.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C3C20EF-E458-49F0-B376-616492DC4448}"/>
              </a:ext>
            </a:extLst>
          </p:cNvPr>
          <p:cNvSpPr txBox="1"/>
          <p:nvPr/>
        </p:nvSpPr>
        <p:spPr>
          <a:xfrm>
            <a:off x="505887" y="6064178"/>
            <a:ext cx="3657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>
                <a:solidFill>
                  <a:srgbClr val="404040"/>
                </a:solidFill>
                <a:latin typeface="Segoe UI"/>
              </a:rPr>
              <a:t>Refer to </a:t>
            </a:r>
            <a:r>
              <a:rPr lang="en-US" sz="1400" i="1">
                <a:solidFill>
                  <a:srgbClr val="404040"/>
                </a:solidFill>
                <a:latin typeface="Segoe UI"/>
                <a:hlinkClick r:id="rId3"/>
              </a:rPr>
              <a:t>this TechNet article</a:t>
            </a:r>
            <a:r>
              <a:rPr lang="en-US" sz="1400" i="1">
                <a:solidFill>
                  <a:srgbClr val="404040"/>
                </a:solidFill>
                <a:latin typeface="Segoe UI"/>
              </a:rPr>
              <a:t> for the list of compliances that ADF is certified for.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CDC112D-8A3F-455E-9A3F-2F48B5DEB050}"/>
              </a:ext>
            </a:extLst>
          </p:cNvPr>
          <p:cNvSpPr txBox="1"/>
          <p:nvPr/>
        </p:nvSpPr>
        <p:spPr>
          <a:xfrm>
            <a:off x="6394492" y="1336954"/>
            <a:ext cx="3384192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REDENTIAL MANAGEMEN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665403D-F61C-4855-ADBD-1718BF161F66}"/>
              </a:ext>
            </a:extLst>
          </p:cNvPr>
          <p:cNvSpPr txBox="1"/>
          <p:nvPr/>
        </p:nvSpPr>
        <p:spPr>
          <a:xfrm>
            <a:off x="6394493" y="1714611"/>
            <a:ext cx="5035507" cy="181588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commended: store credentials in Azure Key Vault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and reference key vault secret from ADF</a:t>
            </a: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505050"/>
              </a:solidFill>
              <a:latin typeface="Segoe UI Semilight"/>
            </a:endParaRP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lternatively: supply credential inline in Linked Service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and ADF will encrypt it at rest:</a:t>
            </a:r>
          </a:p>
          <a:p>
            <a:pPr marL="285750" indent="-285750" defTabSz="896214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Cloud creds are encrypted by ADF-managed certs</a:t>
            </a:r>
          </a:p>
          <a:p>
            <a:pPr marL="285750" indent="-285750" defTabSz="896214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On-prem creds are encrypted by Windows DPAPI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DA61E5E-5237-4C8E-AEDD-AE33314820ED}"/>
              </a:ext>
            </a:extLst>
          </p:cNvPr>
          <p:cNvSpPr txBox="1"/>
          <p:nvPr/>
        </p:nvSpPr>
        <p:spPr>
          <a:xfrm>
            <a:off x="883007" y="4516588"/>
            <a:ext cx="4798873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is transferred through secure channel HTTPS/TLS (V1.2)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if data store supports HTTPS or TLS.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543D8F8-D3A3-42EA-8077-D61828447B15}"/>
              </a:ext>
            </a:extLst>
          </p:cNvPr>
          <p:cNvSpPr txBox="1"/>
          <p:nvPr/>
        </p:nvSpPr>
        <p:spPr>
          <a:xfrm>
            <a:off x="883007" y="4136700"/>
            <a:ext cx="3766270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ENCRYPTION IN TRANSI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7A9611B-D82C-4F68-A1E9-1BC0D8E51F06}"/>
              </a:ext>
            </a:extLst>
          </p:cNvPr>
          <p:cNvSpPr txBox="1"/>
          <p:nvPr/>
        </p:nvSpPr>
        <p:spPr>
          <a:xfrm>
            <a:off x="6394492" y="4133580"/>
            <a:ext cx="3766270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ENCRYPTION AT REST</a:t>
            </a:r>
          </a:p>
        </p:txBody>
      </p:sp>
    </p:spTree>
    <p:extLst>
      <p:ext uri="{BB962C8B-B14F-4D97-AF65-F5344CB8AC3E}">
        <p14:creationId xmlns:p14="http://schemas.microsoft.com/office/powerpoint/2010/main" val="117833070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5001" y="1892300"/>
            <a:ext cx="5940999" cy="1375535"/>
          </a:xfrm>
          <a:ln>
            <a:solidFill>
              <a:srgbClr val="0086AC"/>
            </a:solidFill>
          </a:ln>
        </p:spPr>
        <p:txBody>
          <a:bodyPr/>
          <a:lstStyle/>
          <a:p>
            <a:r>
              <a:rPr lang="en-US" sz="4400"/>
              <a:t>Ingesting Data into Azure using Azure Data Factor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301" y="4207495"/>
            <a:ext cx="5826699" cy="2331618"/>
          </a:xfrm>
        </p:spPr>
        <p:txBody>
          <a:bodyPr/>
          <a:lstStyle/>
          <a:p>
            <a:r>
              <a:rPr lang="en-US" dirty="0"/>
              <a:t>Jan Remko Yntema</a:t>
            </a:r>
          </a:p>
          <a:p>
            <a:r>
              <a:rPr lang="en-US" dirty="0"/>
              <a:t>Data Architect</a:t>
            </a:r>
          </a:p>
          <a:p>
            <a:r>
              <a:rPr lang="en-US" dirty="0" err="1"/>
              <a:t>Ilionx</a:t>
            </a:r>
            <a:endParaRPr lang="en-US" dirty="0"/>
          </a:p>
          <a:p>
            <a:endParaRPr lang="en-US" dirty="0"/>
          </a:p>
          <a:p>
            <a:r>
              <a:rPr lang="en-US" sz="2800" dirty="0"/>
              <a:t>jryntema@ilionx.com</a:t>
            </a:r>
          </a:p>
        </p:txBody>
      </p:sp>
    </p:spTree>
    <p:extLst>
      <p:ext uri="{BB962C8B-B14F-4D97-AF65-F5344CB8AC3E}">
        <p14:creationId xmlns:p14="http://schemas.microsoft.com/office/powerpoint/2010/main" val="2777298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8DE24E2-D124-4042-89D2-4E4CF627321D}"/>
              </a:ext>
            </a:extLst>
          </p:cNvPr>
          <p:cNvSpPr/>
          <p:nvPr/>
        </p:nvSpPr>
        <p:spPr>
          <a:xfrm>
            <a:off x="637524" y="1652169"/>
            <a:ext cx="3805696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AB26C-C870-4F02-BC66-D5E41AF9A439}"/>
              </a:ext>
            </a:extLst>
          </p:cNvPr>
          <p:cNvSpPr/>
          <p:nvPr/>
        </p:nvSpPr>
        <p:spPr>
          <a:xfrm>
            <a:off x="5784656" y="1652170"/>
            <a:ext cx="5608534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1EE0BF-CDBD-4083-953A-F650FC5E991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9557" y="5933325"/>
            <a:ext cx="454112" cy="7306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EEDED4-01C4-4277-BAAB-F4547A8566A3}"/>
              </a:ext>
            </a:extLst>
          </p:cNvPr>
          <p:cNvSpPr/>
          <p:nvPr/>
        </p:nvSpPr>
        <p:spPr>
          <a:xfrm>
            <a:off x="1249068" y="2139733"/>
            <a:ext cx="2657581" cy="3678847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C4710B-5CE9-410E-8B1C-FB22D0BF9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885" y="5521279"/>
            <a:ext cx="486548" cy="39777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3A7973-A024-423A-955A-A59A871F9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9694" y="4240221"/>
            <a:ext cx="503926" cy="6523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F00D78-A029-4BEA-A24D-89335779E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0297" y="4384121"/>
            <a:ext cx="503926" cy="65233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31B5FF1-38D7-4E89-9F16-3933963C4AE7}"/>
              </a:ext>
            </a:extLst>
          </p:cNvPr>
          <p:cNvSpPr txBox="1"/>
          <p:nvPr/>
        </p:nvSpPr>
        <p:spPr>
          <a:xfrm>
            <a:off x="934725" y="5851707"/>
            <a:ext cx="1287380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Corporate Firewall Boundar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9D5C46-E407-40AB-91D8-0706F3F4B1D9}"/>
              </a:ext>
            </a:extLst>
          </p:cNvPr>
          <p:cNvSpPr txBox="1"/>
          <p:nvPr/>
        </p:nvSpPr>
        <p:spPr>
          <a:xfrm>
            <a:off x="1827506" y="5182306"/>
            <a:ext cx="909509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533553-1E1B-4891-B3B1-18D6891A637F}"/>
              </a:ext>
            </a:extLst>
          </p:cNvPr>
          <p:cNvSpPr txBox="1"/>
          <p:nvPr/>
        </p:nvSpPr>
        <p:spPr>
          <a:xfrm>
            <a:off x="3380693" y="4326770"/>
            <a:ext cx="11109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Self-hosted IR on premises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6195EEF-9854-45D9-9374-C3ADCDDA0500}"/>
              </a:ext>
            </a:extLst>
          </p:cNvPr>
          <p:cNvSpPr txBox="1"/>
          <p:nvPr/>
        </p:nvSpPr>
        <p:spPr>
          <a:xfrm>
            <a:off x="9435122" y="5093318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HDInsigh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01B77-4E67-4830-A6AB-33D74BAA5A3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88066" y="5917090"/>
            <a:ext cx="729823" cy="746845"/>
          </a:xfrm>
          <a:prstGeom prst="rect">
            <a:avLst/>
          </a:prstGeom>
        </p:spPr>
      </p:pic>
      <p:pic>
        <p:nvPicPr>
          <p:cNvPr id="1221" name="Picture 1220">
            <a:extLst>
              <a:ext uri="{FF2B5EF4-FFF2-40B4-BE49-F238E27FC236}">
                <a16:creationId xmlns:a16="http://schemas.microsoft.com/office/drawing/2014/main" id="{0F1417BC-1407-43AB-A715-8BA201E3BA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2098" y="4456145"/>
            <a:ext cx="707812" cy="708575"/>
          </a:xfrm>
          <a:prstGeom prst="rect">
            <a:avLst/>
          </a:prstGeom>
        </p:spPr>
      </p:pic>
      <p:pic>
        <p:nvPicPr>
          <p:cNvPr id="1229" name="Picture 1228">
            <a:extLst>
              <a:ext uri="{FF2B5EF4-FFF2-40B4-BE49-F238E27FC236}">
                <a16:creationId xmlns:a16="http://schemas.microsoft.com/office/drawing/2014/main" id="{67EA0156-4076-4159-9C12-F6473C15F7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7890" y="4428765"/>
            <a:ext cx="601213" cy="664555"/>
          </a:xfrm>
          <a:prstGeom prst="rect">
            <a:avLst/>
          </a:prstGeom>
        </p:spPr>
      </p:pic>
      <p:pic>
        <p:nvPicPr>
          <p:cNvPr id="1230" name="Picture 1229">
            <a:extLst>
              <a:ext uri="{FF2B5EF4-FFF2-40B4-BE49-F238E27FC236}">
                <a16:creationId xmlns:a16="http://schemas.microsoft.com/office/drawing/2014/main" id="{2960305D-A317-4B0A-A2AF-8651140B4A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22322" y="2146242"/>
            <a:ext cx="567139" cy="567750"/>
          </a:xfrm>
          <a:prstGeom prst="rect">
            <a:avLst/>
          </a:prstGeom>
        </p:spPr>
      </p:pic>
      <p:sp>
        <p:nvSpPr>
          <p:cNvPr id="249" name="TextBox 248">
            <a:extLst>
              <a:ext uri="{FF2B5EF4-FFF2-40B4-BE49-F238E27FC236}">
                <a16:creationId xmlns:a16="http://schemas.microsoft.com/office/drawing/2014/main" id="{BF797EDB-12C8-4780-85C7-B84F81354704}"/>
              </a:ext>
            </a:extLst>
          </p:cNvPr>
          <p:cNvSpPr txBox="1"/>
          <p:nvPr/>
        </p:nvSpPr>
        <p:spPr>
          <a:xfrm>
            <a:off x="7968783" y="2747154"/>
            <a:ext cx="938119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Factory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667FF4-DDDC-4E6A-8B66-2EC066BE5F4D}"/>
              </a:ext>
            </a:extLst>
          </p:cNvPr>
          <p:cNvSpPr txBox="1"/>
          <p:nvPr/>
        </p:nvSpPr>
        <p:spPr>
          <a:xfrm>
            <a:off x="7382453" y="511155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B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95E952F4-9713-4FA4-8FA0-B31F577A5609}"/>
              </a:ext>
            </a:extLst>
          </p:cNvPr>
          <p:cNvSpPr txBox="1"/>
          <p:nvPr/>
        </p:nvSpPr>
        <p:spPr>
          <a:xfrm>
            <a:off x="8360167" y="5102438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W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371C9BBF-BC07-4FAA-999C-E1E01231EB47}"/>
              </a:ext>
            </a:extLst>
          </p:cNvPr>
          <p:cNvSpPr txBox="1"/>
          <p:nvPr/>
        </p:nvSpPr>
        <p:spPr>
          <a:xfrm>
            <a:off x="7529603" y="5373026"/>
            <a:ext cx="781468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ACL</a:t>
            </a:r>
          </a:p>
        </p:txBody>
      </p:sp>
      <p:pic>
        <p:nvPicPr>
          <p:cNvPr id="1234" name="Picture 1233">
            <a:extLst>
              <a:ext uri="{FF2B5EF4-FFF2-40B4-BE49-F238E27FC236}">
                <a16:creationId xmlns:a16="http://schemas.microsoft.com/office/drawing/2014/main" id="{20A66531-6362-4FE8-BA88-11CA22F31F8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33606" y="4501830"/>
            <a:ext cx="647531" cy="562434"/>
          </a:xfrm>
          <a:prstGeom prst="rect">
            <a:avLst/>
          </a:prstGeom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E3F936EC-DDB2-4D78-A1D7-0EE015221925}"/>
              </a:ext>
            </a:extLst>
          </p:cNvPr>
          <p:cNvSpPr txBox="1"/>
          <p:nvPr/>
        </p:nvSpPr>
        <p:spPr>
          <a:xfrm>
            <a:off x="6375439" y="511155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torage</a:t>
            </a:r>
          </a:p>
        </p:txBody>
      </p:sp>
      <p:pic>
        <p:nvPicPr>
          <p:cNvPr id="1236" name="Picture 1235">
            <a:extLst>
              <a:ext uri="{FF2B5EF4-FFF2-40B4-BE49-F238E27FC236}">
                <a16:creationId xmlns:a16="http://schemas.microsoft.com/office/drawing/2014/main" id="{157EE181-A6B5-459B-9322-884F5E25B06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39694" y="2876538"/>
            <a:ext cx="637808" cy="481673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206370D-C168-4006-A5DE-37D45605287E}"/>
              </a:ext>
            </a:extLst>
          </p:cNvPr>
          <p:cNvCxnSpPr>
            <a:cxnSpLocks/>
            <a:stCxn id="236" idx="3"/>
            <a:endCxn id="1230" idx="1"/>
          </p:cNvCxnSpPr>
          <p:nvPr/>
        </p:nvCxnSpPr>
        <p:spPr>
          <a:xfrm flipV="1">
            <a:off x="3699245" y="2430118"/>
            <a:ext cx="4423077" cy="1540498"/>
          </a:xfrm>
          <a:prstGeom prst="bentConnector3">
            <a:avLst>
              <a:gd name="adj1" fmla="val 80553"/>
            </a:avLst>
          </a:prstGeom>
          <a:ln w="15875"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BF976DF4-282F-4B0A-8F3A-37E99F8C2C2D}"/>
              </a:ext>
            </a:extLst>
          </p:cNvPr>
          <p:cNvGrpSpPr/>
          <p:nvPr/>
        </p:nvGrpSpPr>
        <p:grpSpPr>
          <a:xfrm>
            <a:off x="3057494" y="3693818"/>
            <a:ext cx="804099" cy="665132"/>
            <a:chOff x="4755848" y="3687485"/>
            <a:chExt cx="804308" cy="665305"/>
          </a:xfrm>
        </p:grpSpPr>
        <p:pic>
          <p:nvPicPr>
            <p:cNvPr id="236" name="Picture 235">
              <a:extLst>
                <a:ext uri="{FF2B5EF4-FFF2-40B4-BE49-F238E27FC236}">
                  <a16:creationId xmlns:a16="http://schemas.microsoft.com/office/drawing/2014/main" id="{1B5DDB19-8165-419F-83FD-D62C09A13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755848" y="3687485"/>
              <a:ext cx="641917" cy="553737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30458BDE-9F40-4FB7-823D-0BE1D02D7D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125623" y="3975790"/>
              <a:ext cx="434533" cy="377000"/>
            </a:xfrm>
            <a:prstGeom prst="rect">
              <a:avLst/>
            </a:prstGeom>
          </p:spPr>
        </p:pic>
      </p:grp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79B815A8-A4B2-45D9-A8B9-F891D3F6C5C1}"/>
              </a:ext>
            </a:extLst>
          </p:cNvPr>
          <p:cNvCxnSpPr>
            <a:cxnSpLocks/>
            <a:stCxn id="236" idx="0"/>
            <a:endCxn id="1236" idx="3"/>
          </p:cNvCxnSpPr>
          <p:nvPr/>
        </p:nvCxnSpPr>
        <p:spPr>
          <a:xfrm rot="16200000" flipV="1">
            <a:off x="2639715" y="2955164"/>
            <a:ext cx="576445" cy="900867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93BDDB47-2404-4890-9099-7F8DA2BE8308}"/>
              </a:ext>
            </a:extLst>
          </p:cNvPr>
          <p:cNvCxnSpPr>
            <a:cxnSpLocks/>
            <a:stCxn id="236" idx="2"/>
          </p:cNvCxnSpPr>
          <p:nvPr/>
        </p:nvCxnSpPr>
        <p:spPr>
          <a:xfrm rot="5400000">
            <a:off x="2796809" y="3984825"/>
            <a:ext cx="318975" cy="844146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10C2879B-CB1B-4459-9A7D-5131FE880DED}"/>
              </a:ext>
            </a:extLst>
          </p:cNvPr>
          <p:cNvCxnSpPr>
            <a:cxnSpLocks/>
            <a:stCxn id="71" idx="3"/>
            <a:endCxn id="1234" idx="0"/>
          </p:cNvCxnSpPr>
          <p:nvPr/>
        </p:nvCxnSpPr>
        <p:spPr>
          <a:xfrm>
            <a:off x="3861593" y="4170499"/>
            <a:ext cx="3095779" cy="331331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E87B1090-CA6D-49CD-A850-32EC018C88FC}"/>
              </a:ext>
            </a:extLst>
          </p:cNvPr>
          <p:cNvCxnSpPr>
            <a:cxnSpLocks/>
            <a:endCxn id="1221" idx="0"/>
          </p:cNvCxnSpPr>
          <p:nvPr/>
        </p:nvCxnSpPr>
        <p:spPr>
          <a:xfrm>
            <a:off x="3875660" y="4179110"/>
            <a:ext cx="4060344" cy="277035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101E42EA-07F6-43E1-ACE4-FED5FABDF670}"/>
              </a:ext>
            </a:extLst>
          </p:cNvPr>
          <p:cNvCxnSpPr>
            <a:cxnSpLocks/>
            <a:stCxn id="71" idx="3"/>
            <a:endCxn id="1229" idx="0"/>
          </p:cNvCxnSpPr>
          <p:nvPr/>
        </p:nvCxnSpPr>
        <p:spPr>
          <a:xfrm>
            <a:off x="3861593" y="4170499"/>
            <a:ext cx="4966904" cy="258266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9453069C-9E3B-4AC5-83C4-1C3525E30F26}"/>
              </a:ext>
            </a:extLst>
          </p:cNvPr>
          <p:cNvCxnSpPr>
            <a:cxnSpLocks/>
            <a:endCxn id="37" idx="0"/>
          </p:cNvCxnSpPr>
          <p:nvPr/>
        </p:nvCxnSpPr>
        <p:spPr>
          <a:xfrm>
            <a:off x="4947598" y="4179160"/>
            <a:ext cx="4942964" cy="27885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itle 1">
            <a:extLst>
              <a:ext uri="{FF2B5EF4-FFF2-40B4-BE49-F238E27FC236}">
                <a16:creationId xmlns:a16="http://schemas.microsoft.com/office/drawing/2014/main" id="{0BCBD213-7F52-4D2C-B32F-B85CBB4F7A3F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3918">
              <a:lnSpc>
                <a:spcPct val="110000"/>
              </a:lnSpc>
            </a:pPr>
            <a:r>
              <a:rPr lang="en-US" sz="8300" b="1">
                <a:solidFill>
                  <a:srgbClr val="0078D7"/>
                </a:solidFill>
                <a:latin typeface="Segoe UI Light (Headings)"/>
              </a:rPr>
              <a:t>Hybrid Integration Between On-prem and Public Azure</a:t>
            </a:r>
          </a:p>
          <a:p>
            <a:pPr defTabSz="914093"/>
            <a:endParaRPr lang="en-US" sz="5098">
              <a:gradFill>
                <a:gsLst>
                  <a:gs pos="1250">
                    <a:srgbClr val="404040"/>
                  </a:gs>
                  <a:gs pos="100000">
                    <a:srgbClr val="404040"/>
                  </a:gs>
                </a:gsLst>
                <a:lin ang="5400000" scaled="0"/>
              </a:gradFill>
              <a:latin typeface="Segoe UI Light"/>
            </a:endParaRPr>
          </a:p>
          <a:p>
            <a:pPr defTabSz="914093"/>
            <a:r>
              <a:rPr lang="en-US" sz="7000">
                <a:gradFill>
                  <a:gsLst>
                    <a:gs pos="125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rPr>
              <a:t>Self-hosted IR deployed on premise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D5A4021-1C0D-402E-8688-4369CD7EBED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384661" y="4458012"/>
            <a:ext cx="1011801" cy="65006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DD6E6FE0-D601-4D7C-87D4-6CBB4B6D02A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40017" y="4434560"/>
            <a:ext cx="710383" cy="60826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EC7AFE73-36AA-4C33-BA5A-ECBBC451F9C2}"/>
              </a:ext>
            </a:extLst>
          </p:cNvPr>
          <p:cNvSpPr txBox="1"/>
          <p:nvPr/>
        </p:nvSpPr>
        <p:spPr>
          <a:xfrm>
            <a:off x="10270838" y="5093318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bricks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6105F216-77D6-426C-92F6-50668C5F5D37}"/>
              </a:ext>
            </a:extLst>
          </p:cNvPr>
          <p:cNvCxnSpPr>
            <a:cxnSpLocks/>
            <a:stCxn id="71" idx="3"/>
            <a:endCxn id="38" idx="0"/>
          </p:cNvCxnSpPr>
          <p:nvPr/>
        </p:nvCxnSpPr>
        <p:spPr>
          <a:xfrm>
            <a:off x="3861593" y="4170499"/>
            <a:ext cx="6833616" cy="264061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680348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8DE24E2-D124-4042-89D2-4E4CF627321D}"/>
              </a:ext>
            </a:extLst>
          </p:cNvPr>
          <p:cNvSpPr/>
          <p:nvPr/>
        </p:nvSpPr>
        <p:spPr>
          <a:xfrm>
            <a:off x="637524" y="1652169"/>
            <a:ext cx="3805696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AB26C-C870-4F02-BC66-D5E41AF9A439}"/>
              </a:ext>
            </a:extLst>
          </p:cNvPr>
          <p:cNvSpPr/>
          <p:nvPr/>
        </p:nvSpPr>
        <p:spPr>
          <a:xfrm>
            <a:off x="5679564" y="1652170"/>
            <a:ext cx="5713627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1EE0BF-CDBD-4083-953A-F650FC5E991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9557" y="5933325"/>
            <a:ext cx="454112" cy="7306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EEDED4-01C4-4277-BAAB-F4547A8566A3}"/>
              </a:ext>
            </a:extLst>
          </p:cNvPr>
          <p:cNvSpPr/>
          <p:nvPr/>
        </p:nvSpPr>
        <p:spPr>
          <a:xfrm>
            <a:off x="1249068" y="2139733"/>
            <a:ext cx="2657581" cy="3678847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C4710B-5CE9-410E-8B1C-FB22D0BF9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885" y="5521279"/>
            <a:ext cx="486548" cy="39777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3A7973-A024-423A-955A-A59A871F9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0033" y="4026384"/>
            <a:ext cx="503926" cy="6523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F00D78-A029-4BEA-A24D-89335779E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0636" y="4170285"/>
            <a:ext cx="503926" cy="65233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31B5FF1-38D7-4E89-9F16-3933963C4AE7}"/>
              </a:ext>
            </a:extLst>
          </p:cNvPr>
          <p:cNvSpPr txBox="1"/>
          <p:nvPr/>
        </p:nvSpPr>
        <p:spPr>
          <a:xfrm>
            <a:off x="934725" y="5851707"/>
            <a:ext cx="1287380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Corporate Firewall Boundar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9E4EED-A5AC-46CB-B841-853A09311992}"/>
              </a:ext>
            </a:extLst>
          </p:cNvPr>
          <p:cNvSpPr/>
          <p:nvPr/>
        </p:nvSpPr>
        <p:spPr>
          <a:xfrm>
            <a:off x="6212119" y="3742016"/>
            <a:ext cx="4779259" cy="2076564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D81EBDA-155F-457B-AD21-17E89FE64D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91904" y="5521280"/>
            <a:ext cx="898963" cy="65449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09F0334-D3BB-49AA-843D-EDBF47B4836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33833" y="4003485"/>
            <a:ext cx="669005" cy="54795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D4564CC-F199-4210-89B9-E3BBE27CFBF0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479054" y="4316510"/>
            <a:ext cx="434420" cy="37690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EA81003-0CC9-4C15-9AF7-148BEC5E1B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43690" y="4885364"/>
            <a:ext cx="669005" cy="54795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58C5673-5C8F-4E8F-96AE-80B34B51F3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37194" y="5224515"/>
            <a:ext cx="269339" cy="339212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79D5C46-E407-40AB-91D8-0706F3F4B1D9}"/>
              </a:ext>
            </a:extLst>
          </p:cNvPr>
          <p:cNvSpPr txBox="1"/>
          <p:nvPr/>
        </p:nvSpPr>
        <p:spPr>
          <a:xfrm>
            <a:off x="2107845" y="4968470"/>
            <a:ext cx="909509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1C0E2AA-8868-49B0-AC07-8A1F034B4342}"/>
              </a:ext>
            </a:extLst>
          </p:cNvPr>
          <p:cNvSpPr txBox="1"/>
          <p:nvPr/>
        </p:nvSpPr>
        <p:spPr>
          <a:xfrm>
            <a:off x="6710909" y="5504580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 on V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533553-1E1B-4891-B3B1-18D6891A637F}"/>
              </a:ext>
            </a:extLst>
          </p:cNvPr>
          <p:cNvSpPr txBox="1"/>
          <p:nvPr/>
        </p:nvSpPr>
        <p:spPr>
          <a:xfrm>
            <a:off x="7895070" y="4645965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DF IR on VM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6195EEF-9854-45D9-9374-C3ADCDDA0500}"/>
              </a:ext>
            </a:extLst>
          </p:cNvPr>
          <p:cNvSpPr txBox="1"/>
          <p:nvPr/>
        </p:nvSpPr>
        <p:spPr>
          <a:xfrm>
            <a:off x="9083081" y="5485022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HDInsigh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01B77-4E67-4830-A6AB-33D74BAA5A38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88066" y="5917090"/>
            <a:ext cx="729823" cy="746845"/>
          </a:xfrm>
          <a:prstGeom prst="rect">
            <a:avLst/>
          </a:prstGeom>
        </p:spPr>
      </p:pic>
      <p:sp>
        <p:nvSpPr>
          <p:cNvPr id="235" name="Rectangle 234">
            <a:extLst>
              <a:ext uri="{FF2B5EF4-FFF2-40B4-BE49-F238E27FC236}">
                <a16:creationId xmlns:a16="http://schemas.microsoft.com/office/drawing/2014/main" id="{BA41ADEA-48F1-41F1-8190-8EB449D50638}"/>
              </a:ext>
            </a:extLst>
          </p:cNvPr>
          <p:cNvSpPr/>
          <p:nvPr/>
        </p:nvSpPr>
        <p:spPr>
          <a:xfrm>
            <a:off x="8002674" y="1909560"/>
            <a:ext cx="2988702" cy="1092762"/>
          </a:xfrm>
          <a:prstGeom prst="rect">
            <a:avLst/>
          </a:prstGeom>
          <a:noFill/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221" name="Picture 1220">
            <a:extLst>
              <a:ext uri="{FF2B5EF4-FFF2-40B4-BE49-F238E27FC236}">
                <a16:creationId xmlns:a16="http://schemas.microsoft.com/office/drawing/2014/main" id="{0F1417BC-1407-43AB-A715-8BA201E3BA1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58786" y="2085367"/>
            <a:ext cx="707812" cy="708575"/>
          </a:xfrm>
          <a:prstGeom prst="rect">
            <a:avLst/>
          </a:prstGeom>
        </p:spPr>
      </p:pic>
      <p:pic>
        <p:nvPicPr>
          <p:cNvPr id="1229" name="Picture 1228">
            <a:extLst>
              <a:ext uri="{FF2B5EF4-FFF2-40B4-BE49-F238E27FC236}">
                <a16:creationId xmlns:a16="http://schemas.microsoft.com/office/drawing/2014/main" id="{67EA0156-4076-4159-9C12-F6473C15F7B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04578" y="2057987"/>
            <a:ext cx="601213" cy="664555"/>
          </a:xfrm>
          <a:prstGeom prst="rect">
            <a:avLst/>
          </a:prstGeom>
        </p:spPr>
      </p:pic>
      <p:pic>
        <p:nvPicPr>
          <p:cNvPr id="1230" name="Picture 1229">
            <a:extLst>
              <a:ext uri="{FF2B5EF4-FFF2-40B4-BE49-F238E27FC236}">
                <a16:creationId xmlns:a16="http://schemas.microsoft.com/office/drawing/2014/main" id="{2960305D-A317-4B0A-A2AF-8651140B4A3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85010" y="2139733"/>
            <a:ext cx="567139" cy="567750"/>
          </a:xfrm>
          <a:prstGeom prst="rect">
            <a:avLst/>
          </a:prstGeom>
        </p:spPr>
      </p:pic>
      <p:sp>
        <p:nvSpPr>
          <p:cNvPr id="249" name="TextBox 248">
            <a:extLst>
              <a:ext uri="{FF2B5EF4-FFF2-40B4-BE49-F238E27FC236}">
                <a16:creationId xmlns:a16="http://schemas.microsoft.com/office/drawing/2014/main" id="{BF797EDB-12C8-4780-85C7-B84F81354704}"/>
              </a:ext>
            </a:extLst>
          </p:cNvPr>
          <p:cNvSpPr txBox="1"/>
          <p:nvPr/>
        </p:nvSpPr>
        <p:spPr>
          <a:xfrm>
            <a:off x="6439444" y="2758309"/>
            <a:ext cx="938119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Factory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667FF4-DDDC-4E6A-8B66-2EC066BE5F4D}"/>
              </a:ext>
            </a:extLst>
          </p:cNvPr>
          <p:cNvSpPr txBox="1"/>
          <p:nvPr/>
        </p:nvSpPr>
        <p:spPr>
          <a:xfrm>
            <a:off x="8959141" y="2740781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B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95E952F4-9713-4FA4-8FA0-B31F577A5609}"/>
              </a:ext>
            </a:extLst>
          </p:cNvPr>
          <p:cNvSpPr txBox="1"/>
          <p:nvPr/>
        </p:nvSpPr>
        <p:spPr>
          <a:xfrm>
            <a:off x="9936856" y="2731661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W</a:t>
            </a:r>
          </a:p>
        </p:txBody>
      </p:sp>
      <p:sp>
        <p:nvSpPr>
          <p:cNvPr id="1231" name="Rectangle 1230">
            <a:extLst>
              <a:ext uri="{FF2B5EF4-FFF2-40B4-BE49-F238E27FC236}">
                <a16:creationId xmlns:a16="http://schemas.microsoft.com/office/drawing/2014/main" id="{4E676260-7802-4AC0-A4DD-7D129C7D8EFC}"/>
              </a:ext>
            </a:extLst>
          </p:cNvPr>
          <p:cNvSpPr/>
          <p:nvPr/>
        </p:nvSpPr>
        <p:spPr>
          <a:xfrm>
            <a:off x="7997222" y="3015866"/>
            <a:ext cx="2994154" cy="306793"/>
          </a:xfrm>
          <a:prstGeom prst="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371C9BBF-BC07-4FAA-999C-E1E01231EB47}"/>
              </a:ext>
            </a:extLst>
          </p:cNvPr>
          <p:cNvSpPr txBox="1"/>
          <p:nvPr/>
        </p:nvSpPr>
        <p:spPr>
          <a:xfrm>
            <a:off x="9106291" y="3002248"/>
            <a:ext cx="781468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ACL</a:t>
            </a:r>
          </a:p>
        </p:txBody>
      </p:sp>
      <p:pic>
        <p:nvPicPr>
          <p:cNvPr id="1234" name="Picture 1233">
            <a:extLst>
              <a:ext uri="{FF2B5EF4-FFF2-40B4-BE49-F238E27FC236}">
                <a16:creationId xmlns:a16="http://schemas.microsoft.com/office/drawing/2014/main" id="{20A66531-6362-4FE8-BA88-11CA22F31F8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10294" y="2131053"/>
            <a:ext cx="647531" cy="562434"/>
          </a:xfrm>
          <a:prstGeom prst="rect">
            <a:avLst/>
          </a:prstGeom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E3F936EC-DDB2-4D78-A1D7-0EE015221925}"/>
              </a:ext>
            </a:extLst>
          </p:cNvPr>
          <p:cNvSpPr txBox="1"/>
          <p:nvPr/>
        </p:nvSpPr>
        <p:spPr>
          <a:xfrm>
            <a:off x="8008023" y="272723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torage</a:t>
            </a:r>
          </a:p>
        </p:txBody>
      </p:sp>
      <p:sp>
        <p:nvSpPr>
          <p:cNvPr id="1235" name="Arrow: Down 1234">
            <a:extLst>
              <a:ext uri="{FF2B5EF4-FFF2-40B4-BE49-F238E27FC236}">
                <a16:creationId xmlns:a16="http://schemas.microsoft.com/office/drawing/2014/main" id="{7655BFC8-3B9D-4230-A31F-2E77044AC8EA}"/>
              </a:ext>
            </a:extLst>
          </p:cNvPr>
          <p:cNvSpPr/>
          <p:nvPr/>
        </p:nvSpPr>
        <p:spPr>
          <a:xfrm>
            <a:off x="8916086" y="3275391"/>
            <a:ext cx="1111453" cy="780249"/>
          </a:xfrm>
          <a:prstGeom prst="downArrow">
            <a:avLst>
              <a:gd name="adj1" fmla="val 54069"/>
              <a:gd name="adj2" fmla="val 44354"/>
            </a:avLst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236" name="Picture 1235">
            <a:extLst>
              <a:ext uri="{FF2B5EF4-FFF2-40B4-BE49-F238E27FC236}">
                <a16:creationId xmlns:a16="http://schemas.microsoft.com/office/drawing/2014/main" id="{157EE181-A6B5-459B-9322-884F5E25B06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76754" y="3093095"/>
            <a:ext cx="637808" cy="481673"/>
          </a:xfrm>
          <a:prstGeom prst="rect">
            <a:avLst/>
          </a:prstGeom>
        </p:spPr>
      </p:pic>
      <p:cxnSp>
        <p:nvCxnSpPr>
          <p:cNvPr id="1240" name="Connector: Elbow 1239">
            <a:extLst>
              <a:ext uri="{FF2B5EF4-FFF2-40B4-BE49-F238E27FC236}">
                <a16:creationId xmlns:a16="http://schemas.microsoft.com/office/drawing/2014/main" id="{5233E171-9FF9-43AD-9C85-39FACB74F364}"/>
              </a:ext>
            </a:extLst>
          </p:cNvPr>
          <p:cNvCxnSpPr>
            <a:cxnSpLocks/>
            <a:stCxn id="28" idx="3"/>
            <a:endCxn id="1235" idx="2"/>
          </p:cNvCxnSpPr>
          <p:nvPr/>
        </p:nvCxnSpPr>
        <p:spPr>
          <a:xfrm flipV="1">
            <a:off x="8702836" y="4055639"/>
            <a:ext cx="768976" cy="221824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44" name="Picture 1243">
            <a:extLst>
              <a:ext uri="{FF2B5EF4-FFF2-40B4-BE49-F238E27FC236}">
                <a16:creationId xmlns:a16="http://schemas.microsoft.com/office/drawing/2014/main" id="{0C5F139B-5BFC-44E8-B8FD-068E03E9DC3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978819" y="4619907"/>
            <a:ext cx="405457" cy="405894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206370D-C168-4006-A5DE-37D45605287E}"/>
              </a:ext>
            </a:extLst>
          </p:cNvPr>
          <p:cNvCxnSpPr>
            <a:cxnSpLocks/>
            <a:stCxn id="249" idx="2"/>
            <a:endCxn id="28" idx="1"/>
          </p:cNvCxnSpPr>
          <p:nvPr/>
        </p:nvCxnSpPr>
        <p:spPr>
          <a:xfrm rot="16200000" flipH="1">
            <a:off x="6926977" y="3170609"/>
            <a:ext cx="1088380" cy="1125329"/>
          </a:xfrm>
          <a:prstGeom prst="bentConnector2">
            <a:avLst/>
          </a:prstGeom>
          <a:ln w="15875"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4B4BB159-5761-47BD-B813-61FF7FB5FBDB}"/>
              </a:ext>
            </a:extLst>
          </p:cNvPr>
          <p:cNvCxnSpPr>
            <a:cxnSpLocks/>
            <a:endCxn id="31" idx="0"/>
          </p:cNvCxnSpPr>
          <p:nvPr/>
        </p:nvCxnSpPr>
        <p:spPr>
          <a:xfrm rot="10800000" flipV="1">
            <a:off x="7278192" y="4412270"/>
            <a:ext cx="719030" cy="47309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41D10C5E-EC3C-424B-A6A3-4D4BD48303DA}"/>
              </a:ext>
            </a:extLst>
          </p:cNvPr>
          <p:cNvCxnSpPr>
            <a:cxnSpLocks/>
            <a:stCxn id="29" idx="3"/>
            <a:endCxn id="49" idx="0"/>
          </p:cNvCxnSpPr>
          <p:nvPr/>
        </p:nvCxnSpPr>
        <p:spPr>
          <a:xfrm>
            <a:off x="8913474" y="4504961"/>
            <a:ext cx="535992" cy="35321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>
            <a:extLst>
              <a:ext uri="{FF2B5EF4-FFF2-40B4-BE49-F238E27FC236}">
                <a16:creationId xmlns:a16="http://schemas.microsoft.com/office/drawing/2014/main" id="{8BEB9CB1-2A52-4403-8494-2C1E01F1636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744357" y="4619907"/>
            <a:ext cx="405457" cy="405894"/>
          </a:xfrm>
          <a:prstGeom prst="rect">
            <a:avLst/>
          </a:prstGeom>
        </p:spPr>
      </p:pic>
      <p:cxnSp>
        <p:nvCxnSpPr>
          <p:cNvPr id="225" name="Straight Arrow Connector 224">
            <a:extLst>
              <a:ext uri="{FF2B5EF4-FFF2-40B4-BE49-F238E27FC236}">
                <a16:creationId xmlns:a16="http://schemas.microsoft.com/office/drawing/2014/main" id="{FA65D759-D749-4330-AC9E-A1C61564C84B}"/>
              </a:ext>
            </a:extLst>
          </p:cNvPr>
          <p:cNvCxnSpPr>
            <a:stCxn id="59" idx="3"/>
            <a:endCxn id="1244" idx="1"/>
          </p:cNvCxnSpPr>
          <p:nvPr/>
        </p:nvCxnSpPr>
        <p:spPr>
          <a:xfrm>
            <a:off x="4149814" y="4822854"/>
            <a:ext cx="1829005" cy="0"/>
          </a:xfrm>
          <a:prstGeom prst="straightConnector1">
            <a:avLst/>
          </a:prstGeom>
          <a:ln w="158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26D153DB-99C5-4789-BE0D-DF112E7DEF87}"/>
              </a:ext>
            </a:extLst>
          </p:cNvPr>
          <p:cNvSpPr txBox="1"/>
          <p:nvPr/>
        </p:nvSpPr>
        <p:spPr>
          <a:xfrm>
            <a:off x="4506456" y="4827618"/>
            <a:ext cx="12873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Express Route</a:t>
            </a:r>
          </a:p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(private peering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643394F-0D18-44C6-AA5C-3989AB862FF6}"/>
              </a:ext>
            </a:extLst>
          </p:cNvPr>
          <p:cNvSpPr txBox="1"/>
          <p:nvPr/>
        </p:nvSpPr>
        <p:spPr>
          <a:xfrm>
            <a:off x="9087323" y="3295264"/>
            <a:ext cx="768976" cy="769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service endpoints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B741FB1B-6E81-4256-94A6-C8FA5E0DCAE0}"/>
              </a:ext>
            </a:extLst>
          </p:cNvPr>
          <p:cNvSpPr txBox="1">
            <a:spLocks/>
          </p:cNvSpPr>
          <p:nvPr/>
        </p:nvSpPr>
        <p:spPr>
          <a:xfrm>
            <a:off x="196561" y="155050"/>
            <a:ext cx="11521327" cy="1307418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3918">
              <a:lnSpc>
                <a:spcPct val="110000"/>
              </a:lnSpc>
            </a:pPr>
            <a:r>
              <a:rPr lang="en-US" sz="5600" b="1">
                <a:solidFill>
                  <a:srgbClr val="0078D7"/>
                </a:solidFill>
                <a:latin typeface="Segoe UI Light (Headings)"/>
              </a:rPr>
              <a:t>Hybrid Integration Between On-prem and VNet</a:t>
            </a:r>
          </a:p>
          <a:p>
            <a:endParaRPr lang="en-US" sz="4000" b="1">
              <a:solidFill>
                <a:srgbClr val="0078D7"/>
              </a:solidFill>
              <a:latin typeface="Segoe UI Light"/>
            </a:endParaRPr>
          </a:p>
          <a:p>
            <a:r>
              <a:rPr lang="en-US" sz="4000">
                <a:gradFill>
                  <a:gsLst>
                    <a:gs pos="125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rPr>
              <a:t>Self-hosted IR deployed on VM inside VNet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F9A0605-EEDF-4AB4-A486-794E50CA724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972723" y="4846505"/>
            <a:ext cx="710383" cy="608265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48FA5D63-2B19-407E-A923-828BCD51326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943565" y="4858173"/>
            <a:ext cx="1011801" cy="650069"/>
          </a:xfrm>
          <a:prstGeom prst="rect">
            <a:avLst/>
          </a:prstGeom>
        </p:spPr>
      </p:pic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0E8A8E38-D337-429D-B384-89D33E1A769B}"/>
              </a:ext>
            </a:extLst>
          </p:cNvPr>
          <p:cNvCxnSpPr>
            <a:cxnSpLocks/>
            <a:stCxn id="29" idx="3"/>
            <a:endCxn id="45" idx="0"/>
          </p:cNvCxnSpPr>
          <p:nvPr/>
        </p:nvCxnSpPr>
        <p:spPr>
          <a:xfrm>
            <a:off x="8913474" y="4504961"/>
            <a:ext cx="1414441" cy="341544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32CCC090-6471-4AED-9EC6-45535F711CB6}"/>
              </a:ext>
            </a:extLst>
          </p:cNvPr>
          <p:cNvSpPr txBox="1"/>
          <p:nvPr/>
        </p:nvSpPr>
        <p:spPr>
          <a:xfrm>
            <a:off x="9946090" y="5477259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bricks</a:t>
            </a:r>
          </a:p>
        </p:txBody>
      </p:sp>
    </p:spTree>
    <p:extLst>
      <p:ext uri="{BB962C8B-B14F-4D97-AF65-F5344CB8AC3E}">
        <p14:creationId xmlns:p14="http://schemas.microsoft.com/office/powerpoint/2010/main" val="428614592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Ingestion Pattern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9AE982C-1ED2-4F3F-B8A0-ADC970D0D2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0716" y="910748"/>
            <a:ext cx="11652043" cy="6001643"/>
          </a:xfrm>
        </p:spPr>
        <p:txBody>
          <a:bodyPr/>
          <a:lstStyle/>
          <a:p>
            <a:pPr marL="556750" indent="-457200"/>
            <a:r>
              <a:rPr lang="en-US" sz="2400" b="1"/>
              <a:t>Incremental loading</a:t>
            </a:r>
          </a:p>
          <a:p>
            <a:pPr marL="1004586" lvl="2" indent="-457063">
              <a:buFont typeface="+mj-lt"/>
              <a:buAutoNum type="arabicParenR"/>
            </a:pPr>
            <a:r>
              <a:rPr lang="en-US" sz="1800"/>
              <a:t>Use trigger system variables:</a:t>
            </a:r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r>
              <a:rPr lang="en-US" sz="1800"/>
              <a:t>Use watermark column:</a:t>
            </a:r>
          </a:p>
          <a:p>
            <a:pPr lvl="2"/>
            <a:endParaRPr lang="en-US" sz="1800"/>
          </a:p>
          <a:p>
            <a:pPr lvl="2"/>
            <a:endParaRPr lang="en-US" sz="1800"/>
          </a:p>
          <a:p>
            <a:pPr marL="547523" lvl="2" indent="0">
              <a:buNone/>
            </a:pPr>
            <a:endParaRPr lang="en-US" sz="1800"/>
          </a:p>
          <a:p>
            <a:pPr marL="1004586" lvl="2" indent="-457063">
              <a:buFont typeface="+mj-lt"/>
              <a:buAutoNum type="arabicParenR" startAt="3"/>
            </a:pPr>
            <a:endParaRPr lang="en-US" sz="1800" b="1"/>
          </a:p>
          <a:p>
            <a:pPr marL="1004586" lvl="2" indent="-457063">
              <a:buFont typeface="+mj-lt"/>
              <a:buAutoNum type="arabicParenR" startAt="3"/>
            </a:pPr>
            <a:r>
              <a:rPr lang="en-US" sz="1800"/>
              <a:t>Using Change Tracking (Azure SQL DB, SQL Server</a:t>
            </a:r>
            <a:r>
              <a:rPr lang="en-US" sz="1408"/>
              <a:t>)</a:t>
            </a:r>
          </a:p>
          <a:p>
            <a:endParaRPr lang="en-US" sz="2400" b="1"/>
          </a:p>
          <a:p>
            <a:r>
              <a:rPr lang="en-US" sz="2400" b="1"/>
              <a:t>Delete/archive after load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Azure Blob Storage and ADLS: use Web activity to call REST AP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other data sources: use custom activity</a:t>
            </a:r>
          </a:p>
          <a:p>
            <a:r>
              <a:rPr lang="en-US" sz="2400" b="1"/>
              <a:t>Insert/update/delete on destina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SQL Server/Azure SQL: use </a:t>
            </a:r>
            <a:r>
              <a:rPr lang="en-US" sz="1800" err="1"/>
              <a:t>sproc</a:t>
            </a:r>
            <a:r>
              <a:rPr lang="en-US" sz="1800"/>
              <a:t> for </a:t>
            </a:r>
            <a:r>
              <a:rPr lang="en-US" sz="1800" err="1"/>
              <a:t>upsert</a:t>
            </a:r>
            <a:endParaRPr lang="en-US" sz="180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other connectors: use custom activ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6BD3FD-93DB-4E03-9253-0A00491CCD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161" y="2385751"/>
            <a:ext cx="5801118" cy="15991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89A9178-F233-4162-A58E-95D61A841663}"/>
              </a:ext>
            </a:extLst>
          </p:cNvPr>
          <p:cNvSpPr/>
          <p:nvPr/>
        </p:nvSpPr>
        <p:spPr>
          <a:xfrm>
            <a:off x="4302161" y="1287337"/>
            <a:ext cx="6709968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indent="-600091"/>
            <a:r>
              <a:rPr lang="en-US" sz="1200"/>
              <a:t>SELECT </a:t>
            </a:r>
            <a:r>
              <a:rPr lang="en-US" sz="1200" err="1"/>
              <a:t>Id,IsDeleted,CreatedData</a:t>
            </a:r>
            <a:r>
              <a:rPr lang="en-US" sz="1200"/>
              <a:t> FROM Customers </a:t>
            </a:r>
          </a:p>
          <a:p>
            <a:pPr indent="-600091"/>
            <a:r>
              <a:rPr lang="en-US" sz="1200"/>
              <a:t>WHERE </a:t>
            </a:r>
            <a:r>
              <a:rPr lang="en-US" sz="1200" err="1"/>
              <a:t>CreatedDate</a:t>
            </a:r>
            <a:r>
              <a:rPr lang="en-US" sz="1200"/>
              <a:t> &gt;= </a:t>
            </a:r>
            <a:r>
              <a:rPr lang="fi-FI" sz="1200">
                <a:solidFill>
                  <a:srgbClr val="C00000"/>
                </a:solidFill>
              </a:rPr>
              <a:t>@{formatDateTime(pipeline().parameters.windowStartTime, 'yyyy/MM/dd’) </a:t>
            </a:r>
          </a:p>
          <a:p>
            <a:pPr indent="-600091"/>
            <a:r>
              <a:rPr lang="en-US" sz="1200"/>
              <a:t>AND </a:t>
            </a:r>
            <a:r>
              <a:rPr lang="en-US" sz="1200" err="1"/>
              <a:t>CreatedDate</a:t>
            </a:r>
            <a:r>
              <a:rPr lang="en-US" sz="1200"/>
              <a:t> &lt; </a:t>
            </a:r>
            <a:r>
              <a:rPr lang="fi-FI" sz="1200">
                <a:solidFill>
                  <a:srgbClr val="C00000"/>
                </a:solidFill>
              </a:rPr>
              <a:t>@{formatDateTime(pipeline().parameters.windowEndTime, 'yyyy/MM/dd’) </a:t>
            </a:r>
            <a:endParaRPr lang="en-US" sz="120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78964"/>
      </p:ext>
    </p:extLst>
  </p:cSld>
  <p:clrMapOvr>
    <a:masterClrMapping/>
  </p:clrMapOvr>
  <p:transition spd="med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791F8B3-23E6-4F65-AAF4-03EB7DB539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61" b="4203"/>
          <a:stretch/>
        </p:blipFill>
        <p:spPr>
          <a:xfrm>
            <a:off x="5818739" y="759360"/>
            <a:ext cx="6031442" cy="29765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6849C7C-9EB9-462B-838E-D6F8B5BC0A2C}"/>
              </a:ext>
            </a:extLst>
          </p:cNvPr>
          <p:cNvSpPr txBox="1"/>
          <p:nvPr/>
        </p:nvSpPr>
        <p:spPr>
          <a:xfrm>
            <a:off x="5818740" y="175887"/>
            <a:ext cx="6248215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rag-n-drop visual autho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ive debug mode with breakpoin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9BFA41-CDBF-40CF-97CB-FB0903940FE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67" t="17770" r="34371" b="48888"/>
          <a:stretch/>
        </p:blipFill>
        <p:spPr>
          <a:xfrm>
            <a:off x="609600" y="4432952"/>
            <a:ext cx="5638800" cy="22860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FDD5E10-3B64-47B2-9B29-CDD90C211086}"/>
              </a:ext>
            </a:extLst>
          </p:cNvPr>
          <p:cNvSpPr/>
          <p:nvPr/>
        </p:nvSpPr>
        <p:spPr bwMode="auto">
          <a:xfrm>
            <a:off x="4305485" y="4508679"/>
            <a:ext cx="1447800" cy="838200"/>
          </a:xfrm>
          <a:prstGeom prst="roundRect">
            <a:avLst>
              <a:gd name="adj" fmla="val 10875"/>
            </a:avLst>
          </a:prstGeom>
          <a:noFill/>
          <a:ln w="12700">
            <a:solidFill>
              <a:srgbClr val="A8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E09AB-DD6E-4788-8C54-6F621AC6624C}"/>
              </a:ext>
            </a:extLst>
          </p:cNvPr>
          <p:cNvSpPr txBox="1"/>
          <p:nvPr/>
        </p:nvSpPr>
        <p:spPr>
          <a:xfrm>
            <a:off x="559982" y="3991994"/>
            <a:ext cx="5638800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port ARM template from DEV env &amp; deploy to QA/PRO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8E6BC2-019B-4BD3-839A-B31F0BAE71D6}"/>
              </a:ext>
            </a:extLst>
          </p:cNvPr>
          <p:cNvSpPr txBox="1"/>
          <p:nvPr/>
        </p:nvSpPr>
        <p:spPr>
          <a:xfrm>
            <a:off x="7162800" y="3991994"/>
            <a:ext cx="5180498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gration w/ Azure DevOps Git and GitHub</a:t>
            </a:r>
          </a:p>
        </p:txBody>
      </p:sp>
      <p:pic>
        <p:nvPicPr>
          <p:cNvPr id="13" name="Picture 2" descr="Machine generated alternative text:&#10;Repository Settings &#10;Enter Git repository information to be associated with your &#10;Data Factory: shwangDemoParam &#10;Repository Type * &#10;Select... &#10;Azure DevOps Git &#10;o &#10;G i tHub &#10;x &#10;O ">
            <a:extLst>
              <a:ext uri="{FF2B5EF4-FFF2-40B4-BE49-F238E27FC236}">
                <a16:creationId xmlns:a16="http://schemas.microsoft.com/office/drawing/2014/main" id="{3CADB832-C260-4A46-925A-2D4609885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4377438"/>
            <a:ext cx="4651540" cy="23639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4FB164-35E9-4ECB-B60A-53E118E2B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514"/>
            <a:ext cx="11655840" cy="899665"/>
          </a:xfrm>
        </p:spPr>
        <p:txBody>
          <a:bodyPr>
            <a:normAutofit/>
          </a:bodyPr>
          <a:lstStyle/>
          <a:p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Authoring and CICD</a:t>
            </a:r>
          </a:p>
        </p:txBody>
      </p:sp>
    </p:spTree>
    <p:extLst>
      <p:ext uri="{BB962C8B-B14F-4D97-AF65-F5344CB8AC3E}">
        <p14:creationId xmlns:p14="http://schemas.microsoft.com/office/powerpoint/2010/main" val="10513891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B741FB1B-6E81-4256-94A6-C8FA5E0DCAE0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defTabSz="913951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Monitoring &amp; Mgm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C86EF5-E8B8-4F92-83AC-61E0D88AE6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754" b="4348"/>
          <a:stretch/>
        </p:blipFill>
        <p:spPr>
          <a:xfrm>
            <a:off x="240154" y="1502887"/>
            <a:ext cx="6035040" cy="28141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E28CFD2-30C4-4B1B-A40A-C29600752398}"/>
              </a:ext>
            </a:extLst>
          </p:cNvPr>
          <p:cNvSpPr txBox="1"/>
          <p:nvPr/>
        </p:nvSpPr>
        <p:spPr>
          <a:xfrm>
            <a:off x="163954" y="1066800"/>
            <a:ext cx="5638800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ingle-factory monitoring through ADF dashboar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0A8922-2465-49BE-ABF0-B9A5EF1363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3438442"/>
            <a:ext cx="6200788" cy="31480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C4DFEF4-287B-4410-95F0-AE84D8EBBEC2}"/>
              </a:ext>
            </a:extLst>
          </p:cNvPr>
          <p:cNvSpPr txBox="1"/>
          <p:nvPr/>
        </p:nvSpPr>
        <p:spPr>
          <a:xfrm>
            <a:off x="6593342" y="2743201"/>
            <a:ext cx="5246247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ulti-factory, multi-service monitoring through Azure Monitor and OMS (Operations Management Suite)</a:t>
            </a:r>
          </a:p>
        </p:txBody>
      </p:sp>
    </p:spTree>
    <p:extLst>
      <p:ext uri="{BB962C8B-B14F-4D97-AF65-F5344CB8AC3E}">
        <p14:creationId xmlns:p14="http://schemas.microsoft.com/office/powerpoint/2010/main" val="866132113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Data Ingestion using ADF</a:t>
            </a:r>
          </a:p>
        </p:txBody>
      </p:sp>
      <p:pic>
        <p:nvPicPr>
          <p:cNvPr id="7" name="Picture 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17299403-CF40-483C-9419-28867C7EAC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841" y="3587503"/>
            <a:ext cx="9608144" cy="225190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3C76A3A-F29C-4A63-84AF-8A67FE470241}"/>
              </a:ext>
            </a:extLst>
          </p:cNvPr>
          <p:cNvSpPr/>
          <p:nvPr/>
        </p:nvSpPr>
        <p:spPr>
          <a:xfrm>
            <a:off x="1142841" y="1315090"/>
            <a:ext cx="776262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Fully managed PaaS service with monitoring &amp; mgm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Rich out-of-the-box connectivity for hybrid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Scalable and sec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Operationalized for historical and incremental loa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Chaining with rest of analytics workflow</a:t>
            </a:r>
          </a:p>
        </p:txBody>
      </p:sp>
    </p:spTree>
    <p:extLst>
      <p:ext uri="{BB962C8B-B14F-4D97-AF65-F5344CB8AC3E}">
        <p14:creationId xmlns:p14="http://schemas.microsoft.com/office/powerpoint/2010/main" val="2095270077"/>
      </p:ext>
    </p:extLst>
  </p:cSld>
  <p:clrMapOvr>
    <a:masterClrMapping/>
  </p:clrMapOvr>
  <p:transition spd="med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screenshot&#10;&#10;Description generated with very high confidence">
            <a:extLst>
              <a:ext uri="{FF2B5EF4-FFF2-40B4-BE49-F238E27FC236}">
                <a16:creationId xmlns:a16="http://schemas.microsoft.com/office/drawing/2014/main" id="{59C52407-C5EC-42E0-9581-FC8CCF8BC1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871" t="1" r="13712" b="86757"/>
          <a:stretch/>
        </p:blipFill>
        <p:spPr>
          <a:xfrm>
            <a:off x="1" y="487"/>
            <a:ext cx="12549947" cy="686537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CC51A34-56B7-4C98-B6E0-BA35E17CDDE5}"/>
              </a:ext>
            </a:extLst>
          </p:cNvPr>
          <p:cNvCxnSpPr>
            <a:cxnSpLocks/>
          </p:cNvCxnSpPr>
          <p:nvPr/>
        </p:nvCxnSpPr>
        <p:spPr>
          <a:xfrm>
            <a:off x="5826762" y="4848339"/>
            <a:ext cx="896425" cy="0"/>
          </a:xfrm>
          <a:prstGeom prst="line">
            <a:avLst/>
          </a:prstGeom>
          <a:ln w="28575">
            <a:solidFill>
              <a:srgbClr val="FF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235632FD-723D-4B36-B5A6-F82AC7701F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861"/>
            <a:ext cx="12549947" cy="7707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989469"/>
      </p:ext>
    </p:extLst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9303" y="2084378"/>
            <a:ext cx="5724454" cy="1792836"/>
          </a:xfrm>
        </p:spPr>
        <p:txBody>
          <a:bodyPr/>
          <a:lstStyle/>
          <a:p>
            <a:r>
              <a:rPr lang="en-US" dirty="0"/>
              <a:t>Putting the “T” in “ETL”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762249117"/>
      </p:ext>
    </p:extLst>
  </p:cSld>
  <p:clrMapOvr>
    <a:masterClrMapping/>
  </p:clrMapOvr>
  <p:transition spd="slow">
    <p:push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No-code Data Transformation At Sc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39CADE-83B5-44A8-8429-50F1E11541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0821" y="1431369"/>
            <a:ext cx="11311580" cy="4825937"/>
          </a:xfrm>
        </p:spPr>
        <p:txBody>
          <a:bodyPr/>
          <a:lstStyle/>
          <a:p>
            <a:r>
              <a:rPr lang="en-US" sz="3200" dirty="0"/>
              <a:t>Transform data at scale in the cloud with zero-cod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Cloud-first, scale-out EL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Code-free dataflow pipelin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Serverless scale-out transformation execution engine</a:t>
            </a:r>
          </a:p>
          <a:p>
            <a:endParaRPr lang="en-US" sz="3200" dirty="0"/>
          </a:p>
          <a:p>
            <a:r>
              <a:rPr lang="en-US" sz="3200" dirty="0"/>
              <a:t>Maximum Productivity for Data Engineer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Does NOT require understanding of Spark / Scala / Python / Java</a:t>
            </a:r>
          </a:p>
          <a:p>
            <a:endParaRPr lang="en-US" sz="3200" dirty="0"/>
          </a:p>
          <a:p>
            <a:r>
              <a:rPr lang="en-US" sz="3200" dirty="0"/>
              <a:t>Native handling of Schema Drif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Built for big data scenarios with unstructured data requirements</a:t>
            </a:r>
          </a:p>
        </p:txBody>
      </p:sp>
    </p:spTree>
    <p:extLst>
      <p:ext uri="{BB962C8B-B14F-4D97-AF65-F5344CB8AC3E}">
        <p14:creationId xmlns:p14="http://schemas.microsoft.com/office/powerpoint/2010/main" val="1811837224"/>
      </p:ext>
    </p:extLst>
  </p:cSld>
  <p:clrMapOvr>
    <a:masterClrMapping/>
  </p:clrMapOvr>
  <p:transition spd="med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78D23-9E2D-4241-A471-B379AFFBA5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Code-free Data Transformation At Sca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53DB4-3B4F-47F1-9518-9E527BBCFF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91321" y="1447800"/>
            <a:ext cx="3769463" cy="3623556"/>
          </a:xfrm>
        </p:spPr>
        <p:txBody>
          <a:bodyPr/>
          <a:lstStyle/>
          <a:p>
            <a:pPr marL="0" indent="0">
              <a:buNone/>
            </a:pPr>
            <a:r>
              <a:rPr lang="en-US" sz="2352" dirty="0"/>
              <a:t>Types of transformation:</a:t>
            </a:r>
          </a:p>
          <a:p>
            <a:pPr>
              <a:buFontTx/>
              <a:buChar char="-"/>
            </a:pPr>
            <a:r>
              <a:rPr lang="en-US" sz="2352" dirty="0"/>
              <a:t>Join</a:t>
            </a:r>
          </a:p>
          <a:p>
            <a:pPr>
              <a:buFontTx/>
              <a:buChar char="-"/>
            </a:pPr>
            <a:r>
              <a:rPr lang="en-US" sz="2352" dirty="0"/>
              <a:t>Split</a:t>
            </a:r>
          </a:p>
          <a:p>
            <a:pPr>
              <a:buFontTx/>
              <a:buChar char="-"/>
            </a:pPr>
            <a:r>
              <a:rPr lang="en-US" sz="2352" dirty="0"/>
              <a:t>Union</a:t>
            </a:r>
          </a:p>
          <a:p>
            <a:pPr>
              <a:buFontTx/>
              <a:buChar char="-"/>
            </a:pPr>
            <a:r>
              <a:rPr lang="en-US" sz="2352" dirty="0"/>
              <a:t>Lookup</a:t>
            </a:r>
          </a:p>
          <a:p>
            <a:pPr>
              <a:buFontTx/>
              <a:buChar char="-"/>
            </a:pPr>
            <a:r>
              <a:rPr lang="en-US" sz="2352" dirty="0"/>
              <a:t>Aggregate</a:t>
            </a:r>
          </a:p>
          <a:p>
            <a:pPr>
              <a:buFontTx/>
              <a:buChar char="-"/>
            </a:pPr>
            <a:r>
              <a:rPr lang="en-US" sz="2352" dirty="0"/>
              <a:t>Derived column</a:t>
            </a:r>
          </a:p>
          <a:p>
            <a:pPr>
              <a:buFontTx/>
              <a:buChar char="-"/>
            </a:pPr>
            <a:r>
              <a:rPr lang="en-US" sz="2352" dirty="0"/>
              <a:t>(and many more to come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7F55DC-E0FC-4ED1-9756-E956067139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219" y="1447801"/>
            <a:ext cx="7567165" cy="43586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22458321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89" y="175258"/>
            <a:ext cx="11023275" cy="643969"/>
          </a:xfrm>
        </p:spPr>
        <p:txBody>
          <a:bodyPr>
            <a:noAutofit/>
          </a:bodyPr>
          <a:lstStyle/>
          <a:p>
            <a:r>
              <a:rPr lang="en-US" sz="3920" b="1" spc="0" dirty="0">
                <a:solidFill>
                  <a:srgbClr val="0086AC"/>
                </a:solidFill>
                <a:latin typeface="Segoe UI Light (Headings)"/>
                <a:cs typeface="Segoe UI Semilight" panose="020B0402040204020203" pitchFamily="34" charset="0"/>
              </a:rPr>
              <a:t>Tell us what you think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700448"/>
          </a:xfrm>
        </p:spPr>
        <p:txBody>
          <a:bodyPr/>
          <a:lstStyle/>
          <a:p>
            <a:r>
              <a:rPr lang="en-US" sz="3600" dirty="0"/>
              <a:t>Help us improve by filling out the </a:t>
            </a:r>
            <a:r>
              <a:rPr lang="en-US" sz="3600" u="sng" dirty="0">
                <a:hlinkClick r:id="rId3"/>
              </a:rPr>
              <a:t>feedback survey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656396372"/>
      </p:ext>
    </p:extLst>
  </p:cSld>
  <p:clrMapOvr>
    <a:masterClrMapping/>
  </p:clrMapOvr>
  <p:transition spd="med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490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89" y="175258"/>
            <a:ext cx="11023275" cy="643969"/>
          </a:xfrm>
        </p:spPr>
        <p:txBody>
          <a:bodyPr>
            <a:noAutofit/>
          </a:bodyPr>
          <a:lstStyle/>
          <a:p>
            <a:r>
              <a:rPr lang="en-US" sz="3920" b="1" spc="0">
                <a:solidFill>
                  <a:srgbClr val="0086AC"/>
                </a:solidFill>
                <a:latin typeface="Segoe UI Light (Headings)"/>
                <a:cs typeface="Segoe UI Semilight" panose="020B0402040204020203" pitchFamily="34" charset="0"/>
              </a:rPr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3120854"/>
          </a:xfrm>
        </p:spPr>
        <p:txBody>
          <a:bodyPr/>
          <a:lstStyle/>
          <a:p>
            <a:r>
              <a:rPr lang="en-US" sz="3600" dirty="0"/>
              <a:t>MDW scenarios</a:t>
            </a:r>
          </a:p>
          <a:p>
            <a:r>
              <a:rPr lang="en-US" sz="3600" dirty="0"/>
              <a:t>ADF overview</a:t>
            </a:r>
          </a:p>
          <a:p>
            <a:r>
              <a:rPr lang="en-US" sz="3600" dirty="0"/>
              <a:t>Loading data using ADF</a:t>
            </a:r>
          </a:p>
          <a:p>
            <a:r>
              <a:rPr lang="en-US" sz="3600" dirty="0"/>
              <a:t>Interactive demo</a:t>
            </a:r>
            <a:endParaRPr lang="en-US" sz="2424" dirty="0"/>
          </a:p>
          <a:p>
            <a:r>
              <a:rPr lang="en-US" sz="3600" dirty="0"/>
              <a:t>Q&amp;A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120213947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5594" y="5779071"/>
            <a:ext cx="11180492" cy="888992"/>
          </a:xfrm>
          <a:prstGeom prst="leftRightArrow">
            <a:avLst/>
          </a:prstGeom>
          <a:solidFill>
            <a:srgbClr val="0078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93">
              <a:defRPr/>
            </a:pPr>
            <a:endParaRPr lang="en-US" sz="1764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1820167" y="5910079"/>
            <a:ext cx="8790108" cy="502242"/>
          </a:xfrm>
          <a:prstGeom prst="rect">
            <a:avLst/>
          </a:prstGeom>
          <a:noFill/>
        </p:spPr>
        <p:txBody>
          <a:bodyPr wrap="square" lIns="274210" tIns="182806" rIns="182806" rtlCol="0">
            <a:spAutoFit/>
          </a:bodyPr>
          <a:lstStyle/>
          <a:p>
            <a:pPr defTabSz="914093">
              <a:defRPr/>
            </a:pPr>
            <a:r>
              <a:rPr lang="en-US" sz="1764" b="1">
                <a:solidFill>
                  <a:schemeClr val="bg1"/>
                </a:solidFill>
                <a:latin typeface="Segoe UI"/>
              </a:rPr>
              <a:t>Azure Data Factory orchestrates and operationalizes data pipeline workflow</a:t>
            </a:r>
          </a:p>
        </p:txBody>
      </p:sp>
      <p:sp>
        <p:nvSpPr>
          <p:cNvPr id="159" name="Title 1">
            <a:extLst>
              <a:ext uri="{FF2B5EF4-FFF2-40B4-BE49-F238E27FC236}">
                <a16:creationId xmlns:a16="http://schemas.microsoft.com/office/drawing/2014/main" id="{2D38ADE1-09D7-46ED-B830-3122B0EDF1CA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39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3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Modern DW for BI</a:t>
            </a:r>
          </a:p>
        </p:txBody>
      </p:sp>
      <p:sp>
        <p:nvSpPr>
          <p:cNvPr id="155" name="Right Bracket 154">
            <a:extLst>
              <a:ext uri="{FF2B5EF4-FFF2-40B4-BE49-F238E27FC236}">
                <a16:creationId xmlns:a16="http://schemas.microsoft.com/office/drawing/2014/main" id="{95F3FD24-C680-420A-A9F6-7D50A86978C7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82365424-865D-457D-9BBF-DD5CC4A6F528}"/>
              </a:ext>
            </a:extLst>
          </p:cNvPr>
          <p:cNvSpPr txBox="1"/>
          <p:nvPr/>
        </p:nvSpPr>
        <p:spPr>
          <a:xfrm>
            <a:off x="290776" y="511826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4F338A48-243F-463B-931C-CF225EE50FDF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15B46A04-3621-4310-B0E1-0D52B0713858}"/>
              </a:ext>
            </a:extLst>
          </p:cNvPr>
          <p:cNvCxnSpPr>
            <a:cxnSpLocks/>
          </p:cNvCxnSpPr>
          <p:nvPr/>
        </p:nvCxnSpPr>
        <p:spPr>
          <a:xfrm>
            <a:off x="5529431" y="2815789"/>
            <a:ext cx="1237066" cy="9756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6847B7D1-2BA7-41ED-9F83-F48A45D15BA7}"/>
              </a:ext>
            </a:extLst>
          </p:cNvPr>
          <p:cNvCxnSpPr>
            <a:cxnSpLocks/>
          </p:cNvCxnSpPr>
          <p:nvPr/>
        </p:nvCxnSpPr>
        <p:spPr>
          <a:xfrm>
            <a:off x="9923284" y="4914098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91785FF7-4C9D-4F76-BA08-59E5249D4295}"/>
              </a:ext>
            </a:extLst>
          </p:cNvPr>
          <p:cNvSpPr/>
          <p:nvPr/>
        </p:nvSpPr>
        <p:spPr>
          <a:xfrm>
            <a:off x="4474006" y="3117106"/>
            <a:ext cx="1392554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 Lake Storage Gen2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06D57630-0B04-4ADA-909E-78036BF6193E}"/>
              </a:ext>
            </a:extLst>
          </p:cNvPr>
          <p:cNvSpPr/>
          <p:nvPr/>
        </p:nvSpPr>
        <p:spPr>
          <a:xfrm>
            <a:off x="4592872" y="4833081"/>
            <a:ext cx="73318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olybase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E2F53166-5CE6-49E9-9730-A4DE18B6D47F}"/>
              </a:ext>
            </a:extLst>
          </p:cNvPr>
          <p:cNvSpPr/>
          <p:nvPr/>
        </p:nvSpPr>
        <p:spPr>
          <a:xfrm>
            <a:off x="8424579" y="5240013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QL Data Warehouse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38C76963-2A0A-45D0-8A4F-B79F1A37CBF7}"/>
              </a:ext>
            </a:extLst>
          </p:cNvPr>
          <p:cNvSpPr/>
          <p:nvPr/>
        </p:nvSpPr>
        <p:spPr>
          <a:xfrm>
            <a:off x="2672827" y="311710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AF3B98BB-4BAA-4E3D-9796-D3361C8CE332}"/>
              </a:ext>
            </a:extLst>
          </p:cNvPr>
          <p:cNvSpPr/>
          <p:nvPr/>
        </p:nvSpPr>
        <p:spPr>
          <a:xfrm>
            <a:off x="2672827" y="5057423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cxnSp>
        <p:nvCxnSpPr>
          <p:cNvPr id="185" name="Connector: Elbow 184">
            <a:extLst>
              <a:ext uri="{FF2B5EF4-FFF2-40B4-BE49-F238E27FC236}">
                <a16:creationId xmlns:a16="http://schemas.microsoft.com/office/drawing/2014/main" id="{98AC8C0D-DC4E-418F-9835-4D75115E487A}"/>
              </a:ext>
            </a:extLst>
          </p:cNvPr>
          <p:cNvCxnSpPr>
            <a:cxnSpLocks/>
            <a:endCxn id="256" idx="0"/>
          </p:cNvCxnSpPr>
          <p:nvPr/>
        </p:nvCxnSpPr>
        <p:spPr>
          <a:xfrm>
            <a:off x="7634177" y="2849402"/>
            <a:ext cx="3634614" cy="1043940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A88C94D-ABDC-4822-9D1A-75F59D8B6C01}"/>
              </a:ext>
            </a:extLst>
          </p:cNvPr>
          <p:cNvSpPr/>
          <p:nvPr/>
        </p:nvSpPr>
        <p:spPr>
          <a:xfrm>
            <a:off x="6502777" y="3117106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0C4A4B8B-24E1-4722-86F0-491FE9D03192}"/>
              </a:ext>
            </a:extLst>
          </p:cNvPr>
          <p:cNvGrpSpPr/>
          <p:nvPr/>
        </p:nvGrpSpPr>
        <p:grpSpPr>
          <a:xfrm>
            <a:off x="553831" y="4618795"/>
            <a:ext cx="1064771" cy="406286"/>
            <a:chOff x="579957" y="1614888"/>
            <a:chExt cx="1064771" cy="406286"/>
          </a:xfrm>
        </p:grpSpPr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D3B1975D-4D05-4582-A9F5-50EAB55A42F0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194" name="Group 193">
                <a:extLst>
                  <a:ext uri="{FF2B5EF4-FFF2-40B4-BE49-F238E27FC236}">
                    <a16:creationId xmlns:a16="http://schemas.microsoft.com/office/drawing/2014/main" id="{F7663B88-AFEA-4DEB-B65E-2C46C4C8F208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1AE0228F-EFBB-4164-AA70-CD0CEDBDEF01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F5208A2F-DA17-4BFA-9748-8E1D47F85C08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98">
                  <a:extLst>
                    <a:ext uri="{FF2B5EF4-FFF2-40B4-BE49-F238E27FC236}">
                      <a16:creationId xmlns:a16="http://schemas.microsoft.com/office/drawing/2014/main" id="{9AFA6CF7-665C-41BA-83E0-76748D4CA7A5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BD6E494A-F711-4376-B43A-385746CB906A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BF58D211-B331-456E-B2B3-68B93271F0DD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  <p:cxnSp>
            <p:nvCxnSpPr>
              <p:cNvPr id="196" name="Straight Connector 195">
                <a:extLst>
                  <a:ext uri="{FF2B5EF4-FFF2-40B4-BE49-F238E27FC236}">
                    <a16:creationId xmlns:a16="http://schemas.microsoft.com/office/drawing/2014/main" id="{C15CF9C2-DC6E-478B-AC1F-B273292C322F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</p:grpSp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4CC16D52-C5B7-4264-BFE1-2F2C545798B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190" name="Freeform 106">
                <a:extLst>
                  <a:ext uri="{FF2B5EF4-FFF2-40B4-BE49-F238E27FC236}">
                    <a16:creationId xmlns:a16="http://schemas.microsoft.com/office/drawing/2014/main" id="{2AE81E74-B11E-4CA4-A6F3-3B908609E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852978AC-5339-4296-8EE2-3AA9C4D2EB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1B9DF657-6398-4E06-BBB3-D7AC39590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D123D044-536D-4A29-A34E-6DDDDDC560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BA85707F-839A-424A-B2A0-D1E98FBDC69A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202" name="Group 4">
              <a:extLst>
                <a:ext uri="{FF2B5EF4-FFF2-40B4-BE49-F238E27FC236}">
                  <a16:creationId xmlns:a16="http://schemas.microsoft.com/office/drawing/2014/main" id="{A180F936-1DCF-4DBC-95C5-36179228A57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214" name="Freeform 5">
                <a:extLst>
                  <a:ext uri="{FF2B5EF4-FFF2-40B4-BE49-F238E27FC236}">
                    <a16:creationId xmlns:a16="http://schemas.microsoft.com/office/drawing/2014/main" id="{9D582CFB-74A3-4DED-ADE3-47E392C0D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15" name="Freeform 6">
                <a:extLst>
                  <a:ext uri="{FF2B5EF4-FFF2-40B4-BE49-F238E27FC236}">
                    <a16:creationId xmlns:a16="http://schemas.microsoft.com/office/drawing/2014/main" id="{C08DE5EA-D647-4173-97F6-B69160EDC7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16" name="Freeform 7">
                <a:extLst>
                  <a:ext uri="{FF2B5EF4-FFF2-40B4-BE49-F238E27FC236}">
                    <a16:creationId xmlns:a16="http://schemas.microsoft.com/office/drawing/2014/main" id="{5F4ABE3C-0A13-4A26-8BF3-E8E44E5EC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03D9BD7B-E9BB-43FE-9446-BC231A2CD89A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207" name="Group 206">
                <a:extLst>
                  <a:ext uri="{FF2B5EF4-FFF2-40B4-BE49-F238E27FC236}">
                    <a16:creationId xmlns:a16="http://schemas.microsoft.com/office/drawing/2014/main" id="{9AC42740-5F08-4653-9338-1EA9E5E64ABD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212" name="Snip Single Corner Rectangle 26">
                  <a:extLst>
                    <a:ext uri="{FF2B5EF4-FFF2-40B4-BE49-F238E27FC236}">
                      <a16:creationId xmlns:a16="http://schemas.microsoft.com/office/drawing/2014/main" id="{D81CE06F-5C18-480A-91C6-BCFB954F2226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3" name="Triangle 27">
                  <a:extLst>
                    <a:ext uri="{FF2B5EF4-FFF2-40B4-BE49-F238E27FC236}">
                      <a16:creationId xmlns:a16="http://schemas.microsoft.com/office/drawing/2014/main" id="{AF1A1921-DF5A-4C0F-ABA9-1B1A6C336659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E6817B1A-0E65-4BDA-AD96-C7B1510BC6AE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>
                <a:extLst>
                  <a:ext uri="{FF2B5EF4-FFF2-40B4-BE49-F238E27FC236}">
                    <a16:creationId xmlns:a16="http://schemas.microsoft.com/office/drawing/2014/main" id="{35C9C49A-7AF7-416E-85C1-7CBF80EA475D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DDAEF2F5-4938-4DAA-99FC-92E2FCC9B4F7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AEA2B76E-2C65-4D73-B1A0-12F6BEFA8F4E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08356157-CBED-409B-A8D1-82D785DED3F9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F51EC649-710F-49C7-89D4-41C05E1471BA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6" name="Isosceles Triangle 205">
                <a:extLst>
                  <a:ext uri="{FF2B5EF4-FFF2-40B4-BE49-F238E27FC236}">
                    <a16:creationId xmlns:a16="http://schemas.microsoft.com/office/drawing/2014/main" id="{B6C9DB49-2305-4BDB-B50C-583D0CD563E1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ACFD76B3-52C3-4957-8C9A-9BEAD33F2D21}"/>
              </a:ext>
            </a:extLst>
          </p:cNvPr>
          <p:cNvGrpSpPr/>
          <p:nvPr/>
        </p:nvGrpSpPr>
        <p:grpSpPr>
          <a:xfrm>
            <a:off x="4878110" y="2594469"/>
            <a:ext cx="554226" cy="494220"/>
            <a:chOff x="2488012" y="1320237"/>
            <a:chExt cx="4696415" cy="4187934"/>
          </a:xfrm>
        </p:grpSpPr>
        <p:sp>
          <p:nvSpPr>
            <p:cNvPr id="218" name="Hexagon 217">
              <a:extLst>
                <a:ext uri="{FF2B5EF4-FFF2-40B4-BE49-F238E27FC236}">
                  <a16:creationId xmlns:a16="http://schemas.microsoft.com/office/drawing/2014/main" id="{2A91B5B0-D88F-45CF-AE59-737DBF1B2680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Snip Single Corner Rectangle 26">
              <a:extLst>
                <a:ext uri="{FF2B5EF4-FFF2-40B4-BE49-F238E27FC236}">
                  <a16:creationId xmlns:a16="http://schemas.microsoft.com/office/drawing/2014/main" id="{1F4D6FFD-7F2E-49D4-AEDE-48C2882BA2F5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6BF05F4B-9F37-4930-A1BB-00AFDB4176D4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2CB26C17-7F70-4A2E-A066-67C17C8DB648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1189FCDD-E8DF-40ED-B5AB-3D6BE95F1FF6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0144BAA4-01C9-46CC-A1FE-41F39834867B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9EEABC8C-9F5F-4921-B8D0-0D1AF521D512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21" name="Right Triangle 220">
              <a:extLst>
                <a:ext uri="{FF2B5EF4-FFF2-40B4-BE49-F238E27FC236}">
                  <a16:creationId xmlns:a16="http://schemas.microsoft.com/office/drawing/2014/main" id="{0E7E8C24-3299-4341-969B-653A0D97635A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379BCE43-AECC-4A67-8CCD-78DA8DD5B336}"/>
              </a:ext>
            </a:extLst>
          </p:cNvPr>
          <p:cNvGrpSpPr/>
          <p:nvPr/>
        </p:nvGrpSpPr>
        <p:grpSpPr>
          <a:xfrm>
            <a:off x="9081256" y="4439748"/>
            <a:ext cx="732312" cy="719160"/>
            <a:chOff x="2549926" y="1227604"/>
            <a:chExt cx="5177116" cy="5084148"/>
          </a:xfrm>
        </p:grpSpPr>
        <p:sp>
          <p:nvSpPr>
            <p:cNvPr id="227" name="Freeform: Shape 821">
              <a:extLst>
                <a:ext uri="{FF2B5EF4-FFF2-40B4-BE49-F238E27FC236}">
                  <a16:creationId xmlns:a16="http://schemas.microsoft.com/office/drawing/2014/main" id="{644ADA88-6537-4CC5-92A0-2C0B29722B29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id="{836437FE-98E1-44E0-8F10-32F4E8E76744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77FE236E-00BA-475C-925A-6F209F976764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F94631E6-296F-416E-9BB6-209EEE29A9A7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0D82F08C-0183-45AE-91EF-A0A05D07C50F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3C328A51-1C3A-40C5-B74E-FF71A43AEC48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01FEAE0E-8FD7-45C5-92CA-5F089DE50647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Cylinder 828">
              <a:extLst>
                <a:ext uri="{FF2B5EF4-FFF2-40B4-BE49-F238E27FC236}">
                  <a16:creationId xmlns:a16="http://schemas.microsoft.com/office/drawing/2014/main" id="{3FC58174-45E2-44AD-A09E-0718C25DDF96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2C711776-E149-4F75-AFD3-59EB67F65E1E}"/>
              </a:ext>
            </a:extLst>
          </p:cNvPr>
          <p:cNvGrpSpPr/>
          <p:nvPr/>
        </p:nvGrpSpPr>
        <p:grpSpPr>
          <a:xfrm>
            <a:off x="2953700" y="2597853"/>
            <a:ext cx="485337" cy="487453"/>
            <a:chOff x="5279190" y="5401430"/>
            <a:chExt cx="1101836" cy="1106637"/>
          </a:xfrm>
        </p:grpSpPr>
        <p:sp>
          <p:nvSpPr>
            <p:cNvPr id="236" name="Freeform: Shape 815">
              <a:extLst>
                <a:ext uri="{FF2B5EF4-FFF2-40B4-BE49-F238E27FC236}">
                  <a16:creationId xmlns:a16="http://schemas.microsoft.com/office/drawing/2014/main" id="{2B8465E2-9D20-4AB2-A850-C964298268B2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7" name="Freeform: Shape 816">
              <a:extLst>
                <a:ext uri="{FF2B5EF4-FFF2-40B4-BE49-F238E27FC236}">
                  <a16:creationId xmlns:a16="http://schemas.microsoft.com/office/drawing/2014/main" id="{7DF0C52A-D030-4F44-8E2E-E013E51103A0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8" name="Freeform: Shape 817">
              <a:extLst>
                <a:ext uri="{FF2B5EF4-FFF2-40B4-BE49-F238E27FC236}">
                  <a16:creationId xmlns:a16="http://schemas.microsoft.com/office/drawing/2014/main" id="{EB43C86E-F81C-4379-91E7-4B081F3B8C08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9" name="Freeform: Shape 818">
              <a:extLst>
                <a:ext uri="{FF2B5EF4-FFF2-40B4-BE49-F238E27FC236}">
                  <a16:creationId xmlns:a16="http://schemas.microsoft.com/office/drawing/2014/main" id="{02A02B4F-40AC-420C-998D-28F31DE902FD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240" name="Freeform: Shape 819">
              <a:extLst>
                <a:ext uri="{FF2B5EF4-FFF2-40B4-BE49-F238E27FC236}">
                  <a16:creationId xmlns:a16="http://schemas.microsoft.com/office/drawing/2014/main" id="{250DDAA1-06F9-470C-B041-1F4DD77E409E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241" name="Connector: Elbow 240">
            <a:extLst>
              <a:ext uri="{FF2B5EF4-FFF2-40B4-BE49-F238E27FC236}">
                <a16:creationId xmlns:a16="http://schemas.microsoft.com/office/drawing/2014/main" id="{DE4C24EB-DCCD-46F8-8A4C-B194A923741D}"/>
              </a:ext>
            </a:extLst>
          </p:cNvPr>
          <p:cNvCxnSpPr>
            <a:cxnSpLocks/>
            <a:stCxn id="170" idx="2"/>
          </p:cNvCxnSpPr>
          <p:nvPr/>
        </p:nvCxnSpPr>
        <p:spPr>
          <a:xfrm rot="16200000" flipH="1">
            <a:off x="6425813" y="2277074"/>
            <a:ext cx="1129678" cy="3640738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AA7B7D6F-3B7E-46B1-9686-48E2509D6352}"/>
              </a:ext>
            </a:extLst>
          </p:cNvPr>
          <p:cNvCxnSpPr>
            <a:cxnSpLocks/>
          </p:cNvCxnSpPr>
          <p:nvPr/>
        </p:nvCxnSpPr>
        <p:spPr>
          <a:xfrm>
            <a:off x="3572438" y="483662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Arrow Connector 242">
            <a:extLst>
              <a:ext uri="{FF2B5EF4-FFF2-40B4-BE49-F238E27FC236}">
                <a16:creationId xmlns:a16="http://schemas.microsoft.com/office/drawing/2014/main" id="{303E9029-72B0-4A9D-8810-3A09B49E9137}"/>
              </a:ext>
            </a:extLst>
          </p:cNvPr>
          <p:cNvCxnSpPr>
            <a:cxnSpLocks/>
          </p:cNvCxnSpPr>
          <p:nvPr/>
        </p:nvCxnSpPr>
        <p:spPr>
          <a:xfrm>
            <a:off x="3572437" y="2828043"/>
            <a:ext cx="118782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Arrow Connector 243">
            <a:extLst>
              <a:ext uri="{FF2B5EF4-FFF2-40B4-BE49-F238E27FC236}">
                <a16:creationId xmlns:a16="http://schemas.microsoft.com/office/drawing/2014/main" id="{0831E5F1-BF93-47A7-9FCA-355022A895B3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Arrow Connector 244">
            <a:extLst>
              <a:ext uri="{FF2B5EF4-FFF2-40B4-BE49-F238E27FC236}">
                <a16:creationId xmlns:a16="http://schemas.microsoft.com/office/drawing/2014/main" id="{273F52C6-F86E-4C99-9D4C-14FC4C486DF3}"/>
              </a:ext>
            </a:extLst>
          </p:cNvPr>
          <p:cNvCxnSpPr>
            <a:cxnSpLocks/>
          </p:cNvCxnSpPr>
          <p:nvPr/>
        </p:nvCxnSpPr>
        <p:spPr>
          <a:xfrm>
            <a:off x="2316994" y="4834959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ABCBAFDB-E5BE-4925-ADA1-D02421E4D6AE}"/>
              </a:ext>
            </a:extLst>
          </p:cNvPr>
          <p:cNvGrpSpPr/>
          <p:nvPr/>
        </p:nvGrpSpPr>
        <p:grpSpPr>
          <a:xfrm>
            <a:off x="2953700" y="4519140"/>
            <a:ext cx="485337" cy="487453"/>
            <a:chOff x="5279190" y="5401430"/>
            <a:chExt cx="1101836" cy="1106637"/>
          </a:xfrm>
        </p:grpSpPr>
        <p:sp>
          <p:nvSpPr>
            <p:cNvPr id="247" name="Freeform: Shape 815">
              <a:extLst>
                <a:ext uri="{FF2B5EF4-FFF2-40B4-BE49-F238E27FC236}">
                  <a16:creationId xmlns:a16="http://schemas.microsoft.com/office/drawing/2014/main" id="{73BFD031-A6F6-4371-A934-5BC3EA323AAA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8" name="Freeform: Shape 816">
              <a:extLst>
                <a:ext uri="{FF2B5EF4-FFF2-40B4-BE49-F238E27FC236}">
                  <a16:creationId xmlns:a16="http://schemas.microsoft.com/office/drawing/2014/main" id="{5DB2FBED-40CA-4C29-88DF-9B607E3A8DD1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9" name="Freeform: Shape 817">
              <a:extLst>
                <a:ext uri="{FF2B5EF4-FFF2-40B4-BE49-F238E27FC236}">
                  <a16:creationId xmlns:a16="http://schemas.microsoft.com/office/drawing/2014/main" id="{F71923D8-DAE9-4303-9907-8749A9133330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0" name="Freeform: Shape 818">
              <a:extLst>
                <a:ext uri="{FF2B5EF4-FFF2-40B4-BE49-F238E27FC236}">
                  <a16:creationId xmlns:a16="http://schemas.microsoft.com/office/drawing/2014/main" id="{927E12B2-DAFA-4255-A3A5-576D29F99385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251" name="Freeform: Shape 819">
              <a:extLst>
                <a:ext uri="{FF2B5EF4-FFF2-40B4-BE49-F238E27FC236}">
                  <a16:creationId xmlns:a16="http://schemas.microsoft.com/office/drawing/2014/main" id="{9D192C22-CD62-4151-88A6-8BD5EA4CFF7C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52" name="Shape 101">
            <a:extLst>
              <a:ext uri="{FF2B5EF4-FFF2-40B4-BE49-F238E27FC236}">
                <a16:creationId xmlns:a16="http://schemas.microsoft.com/office/drawing/2014/main" id="{00969007-6EEB-41AD-B0B6-5182BABE8637}"/>
              </a:ext>
            </a:extLst>
          </p:cNvPr>
          <p:cNvSpPr txBox="1"/>
          <p:nvPr/>
        </p:nvSpPr>
        <p:spPr>
          <a:xfrm>
            <a:off x="10615278" y="4609681"/>
            <a:ext cx="1516015" cy="415458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Analytical dashboard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(PowerBI)</a:t>
            </a: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B4BD7B08-E7F5-4C64-B2ED-E8BBFE0E7771}"/>
              </a:ext>
            </a:extLst>
          </p:cNvPr>
          <p:cNvGrpSpPr/>
          <p:nvPr/>
        </p:nvGrpSpPr>
        <p:grpSpPr>
          <a:xfrm>
            <a:off x="10934103" y="3893342"/>
            <a:ext cx="669375" cy="526560"/>
            <a:chOff x="10725498" y="5087603"/>
            <a:chExt cx="498940" cy="424437"/>
          </a:xfrm>
        </p:grpSpPr>
        <p:sp>
          <p:nvSpPr>
            <p:cNvPr id="254" name="graph_2">
              <a:extLst>
                <a:ext uri="{FF2B5EF4-FFF2-40B4-BE49-F238E27FC236}">
                  <a16:creationId xmlns:a16="http://schemas.microsoft.com/office/drawing/2014/main" id="{84E0E811-BEC5-4CFC-902D-7932316618A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4A64007F-6686-4886-AB09-84F350169B3A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256" name="Rectangle 9">
                <a:extLst>
                  <a:ext uri="{FF2B5EF4-FFF2-40B4-BE49-F238E27FC236}">
                    <a16:creationId xmlns:a16="http://schemas.microsoft.com/office/drawing/2014/main" id="{F749FC14-2B94-489C-8AD9-3A859E9083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Line 10">
                <a:extLst>
                  <a:ext uri="{FF2B5EF4-FFF2-40B4-BE49-F238E27FC236}">
                    <a16:creationId xmlns:a16="http://schemas.microsoft.com/office/drawing/2014/main" id="{7F10F438-3750-4D7C-A15E-FA496FD6D2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Oval 11">
                <a:extLst>
                  <a:ext uri="{FF2B5EF4-FFF2-40B4-BE49-F238E27FC236}">
                    <a16:creationId xmlns:a16="http://schemas.microsoft.com/office/drawing/2014/main" id="{B035D68F-9F4C-4D79-89C0-1D530996B4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Oval 12">
                <a:extLst>
                  <a:ext uri="{FF2B5EF4-FFF2-40B4-BE49-F238E27FC236}">
                    <a16:creationId xmlns:a16="http://schemas.microsoft.com/office/drawing/2014/main" id="{39F0762C-2E98-4F4C-8DEC-7DE979521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Oval 13">
                <a:extLst>
                  <a:ext uri="{FF2B5EF4-FFF2-40B4-BE49-F238E27FC236}">
                    <a16:creationId xmlns:a16="http://schemas.microsoft.com/office/drawing/2014/main" id="{3BDEEDB8-9AE7-41A5-A7F4-F640D17F3C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71FC833C-9CE0-4003-B47E-0058F8949D01}"/>
              </a:ext>
            </a:extLst>
          </p:cNvPr>
          <p:cNvGrpSpPr/>
          <p:nvPr/>
        </p:nvGrpSpPr>
        <p:grpSpPr>
          <a:xfrm>
            <a:off x="6919439" y="2598745"/>
            <a:ext cx="595274" cy="485668"/>
            <a:chOff x="5818113" y="2550840"/>
            <a:chExt cx="529278" cy="431824"/>
          </a:xfrm>
        </p:grpSpPr>
        <p:sp>
          <p:nvSpPr>
            <p:cNvPr id="262" name="Diamond 261">
              <a:extLst>
                <a:ext uri="{FF2B5EF4-FFF2-40B4-BE49-F238E27FC236}">
                  <a16:creationId xmlns:a16="http://schemas.microsoft.com/office/drawing/2014/main" id="{332B31D9-F18D-415D-B91F-BD681AB9839D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58B88DB3-8EF6-4468-91ED-24663221ECB0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64" name="Rectangle 263">
            <a:extLst>
              <a:ext uri="{FF2B5EF4-FFF2-40B4-BE49-F238E27FC236}">
                <a16:creationId xmlns:a16="http://schemas.microsoft.com/office/drawing/2014/main" id="{05B94146-6E2B-498D-A97A-9A15C27088E8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5DB140A0-9E6A-442E-85A3-EAD45F17C91A}"/>
              </a:ext>
            </a:extLst>
          </p:cNvPr>
          <p:cNvSpPr/>
          <p:nvPr/>
        </p:nvSpPr>
        <p:spPr bwMode="auto">
          <a:xfrm>
            <a:off x="861602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32329837-BBF4-4121-B786-D896A0A66A20}"/>
              </a:ext>
            </a:extLst>
          </p:cNvPr>
          <p:cNvSpPr/>
          <p:nvPr/>
        </p:nvSpPr>
        <p:spPr bwMode="auto">
          <a:xfrm>
            <a:off x="6608998" y="1759613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BA11A9EF-93FF-47D4-BB2D-C2F1C49050C4}"/>
              </a:ext>
            </a:extLst>
          </p:cNvPr>
          <p:cNvSpPr/>
          <p:nvPr/>
        </p:nvSpPr>
        <p:spPr bwMode="auto">
          <a:xfrm>
            <a:off x="4564817" y="1759613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A7F82475-21A5-470C-98C2-141C176396E3}"/>
              </a:ext>
            </a:extLst>
          </p:cNvPr>
          <p:cNvSpPr/>
          <p:nvPr/>
        </p:nvSpPr>
        <p:spPr bwMode="auto">
          <a:xfrm>
            <a:off x="2609300" y="1759613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269" name="Connector: Elbow 268">
            <a:extLst>
              <a:ext uri="{FF2B5EF4-FFF2-40B4-BE49-F238E27FC236}">
                <a16:creationId xmlns:a16="http://schemas.microsoft.com/office/drawing/2014/main" id="{FA5B3583-4869-485D-A81D-DBBB4A2AA081}"/>
              </a:ext>
            </a:extLst>
          </p:cNvPr>
          <p:cNvCxnSpPr>
            <a:cxnSpLocks/>
            <a:stCxn id="186" idx="2"/>
          </p:cNvCxnSpPr>
          <p:nvPr/>
        </p:nvCxnSpPr>
        <p:spPr>
          <a:xfrm rot="16200000" flipH="1">
            <a:off x="7519732" y="3229948"/>
            <a:ext cx="988632" cy="1593944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tangle 269">
            <a:extLst>
              <a:ext uri="{FF2B5EF4-FFF2-40B4-BE49-F238E27FC236}">
                <a16:creationId xmlns:a16="http://schemas.microsoft.com/office/drawing/2014/main" id="{BB50F891-5682-453C-9AB1-790914252364}"/>
              </a:ext>
            </a:extLst>
          </p:cNvPr>
          <p:cNvSpPr/>
          <p:nvPr/>
        </p:nvSpPr>
        <p:spPr bwMode="auto">
          <a:xfrm>
            <a:off x="1042029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pic>
        <p:nvPicPr>
          <p:cNvPr id="271" name="Picture 270">
            <a:extLst>
              <a:ext uri="{FF2B5EF4-FFF2-40B4-BE49-F238E27FC236}">
                <a16:creationId xmlns:a16="http://schemas.microsoft.com/office/drawing/2014/main" id="{6935DE22-29D1-410F-8A14-1920A525DC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177608" y="3511629"/>
            <a:ext cx="695422" cy="528711"/>
          </a:xfrm>
          <a:prstGeom prst="rect">
            <a:avLst/>
          </a:prstGeom>
        </p:spPr>
      </p:pic>
      <p:sp>
        <p:nvSpPr>
          <p:cNvPr id="272" name="Rectangle 271">
            <a:extLst>
              <a:ext uri="{FF2B5EF4-FFF2-40B4-BE49-F238E27FC236}">
                <a16:creationId xmlns:a16="http://schemas.microsoft.com/office/drawing/2014/main" id="{DE3AD066-FA0E-45A5-8D6C-0270D1F46D1B}"/>
              </a:ext>
            </a:extLst>
          </p:cNvPr>
          <p:cNvSpPr/>
          <p:nvPr/>
        </p:nvSpPr>
        <p:spPr>
          <a:xfrm>
            <a:off x="8459952" y="4069120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Analysis Services</a:t>
            </a:r>
          </a:p>
        </p:txBody>
      </p:sp>
      <p:pic>
        <p:nvPicPr>
          <p:cNvPr id="273" name="Picture 272">
            <a:extLst>
              <a:ext uri="{FF2B5EF4-FFF2-40B4-BE49-F238E27FC236}">
                <a16:creationId xmlns:a16="http://schemas.microsoft.com/office/drawing/2014/main" id="{F8D47981-55B9-428B-BECC-8B89E7893E4F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50000"/>
          </a:blip>
          <a:stretch>
            <a:fillRect/>
          </a:stretch>
        </p:blipFill>
        <p:spPr>
          <a:xfrm>
            <a:off x="291567" y="3130285"/>
            <a:ext cx="674300" cy="835851"/>
          </a:xfrm>
          <a:prstGeom prst="rect">
            <a:avLst/>
          </a:prstGeom>
        </p:spPr>
      </p:pic>
      <p:sp>
        <p:nvSpPr>
          <p:cNvPr id="274" name="TextBox 273">
            <a:extLst>
              <a:ext uri="{FF2B5EF4-FFF2-40B4-BE49-F238E27FC236}">
                <a16:creationId xmlns:a16="http://schemas.microsoft.com/office/drawing/2014/main" id="{B155FF6A-CE7F-4249-BED7-8E8718FA2790}"/>
              </a:ext>
            </a:extLst>
          </p:cNvPr>
          <p:cNvSpPr txBox="1"/>
          <p:nvPr/>
        </p:nvSpPr>
        <p:spPr>
          <a:xfrm>
            <a:off x="186918" y="402091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n Prem, Cloud 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 &amp; Data</a:t>
            </a:r>
          </a:p>
        </p:txBody>
      </p:sp>
      <p:sp>
        <p:nvSpPr>
          <p:cNvPr id="275" name="Freeform 5">
            <a:extLst>
              <a:ext uri="{FF2B5EF4-FFF2-40B4-BE49-F238E27FC236}">
                <a16:creationId xmlns:a16="http://schemas.microsoft.com/office/drawing/2014/main" id="{DC3BD6CD-E7C0-434E-8210-9AC897446196}"/>
              </a:ext>
            </a:extLst>
          </p:cNvPr>
          <p:cNvSpPr>
            <a:spLocks noChangeAspect="1"/>
          </p:cNvSpPr>
          <p:nvPr/>
        </p:nvSpPr>
        <p:spPr bwMode="black">
          <a:xfrm>
            <a:off x="1051049" y="3582349"/>
            <a:ext cx="600583" cy="330255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82D339C9-9CF3-4CA0-A6D1-9C78501AE14A}"/>
              </a:ext>
            </a:extLst>
          </p:cNvPr>
          <p:cNvCxnSpPr>
            <a:cxnSpLocks/>
          </p:cNvCxnSpPr>
          <p:nvPr/>
        </p:nvCxnSpPr>
        <p:spPr>
          <a:xfrm>
            <a:off x="9923284" y="4026920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161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5594" y="5779071"/>
            <a:ext cx="11180492" cy="888992"/>
          </a:xfrm>
          <a:prstGeom prst="leftRightArrow">
            <a:avLst/>
          </a:prstGeom>
          <a:solidFill>
            <a:srgbClr val="0078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93">
              <a:defRPr/>
            </a:pPr>
            <a:endParaRPr lang="en-US" sz="1764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1820167" y="5910079"/>
            <a:ext cx="8790108" cy="502242"/>
          </a:xfrm>
          <a:prstGeom prst="rect">
            <a:avLst/>
          </a:prstGeom>
          <a:noFill/>
        </p:spPr>
        <p:txBody>
          <a:bodyPr wrap="square" lIns="274210" tIns="182806" rIns="182806" rtlCol="0">
            <a:spAutoFit/>
          </a:bodyPr>
          <a:lstStyle/>
          <a:p>
            <a:pPr defTabSz="914093">
              <a:defRPr/>
            </a:pPr>
            <a:r>
              <a:rPr lang="en-US" sz="1764" b="1">
                <a:solidFill>
                  <a:schemeClr val="bg1"/>
                </a:solidFill>
                <a:latin typeface="Segoe UI"/>
              </a:rPr>
              <a:t>Azure Data Factory orchestrates and operationalizes data pipeline workflow</a:t>
            </a:r>
          </a:p>
        </p:txBody>
      </p:sp>
      <p:sp>
        <p:nvSpPr>
          <p:cNvPr id="159" name="Title 1">
            <a:extLst>
              <a:ext uri="{FF2B5EF4-FFF2-40B4-BE49-F238E27FC236}">
                <a16:creationId xmlns:a16="http://schemas.microsoft.com/office/drawing/2014/main" id="{2D38ADE1-09D7-46ED-B830-3122B0EDF1CA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39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3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Modern DW for SaaS Apps</a:t>
            </a:r>
          </a:p>
        </p:txBody>
      </p:sp>
      <p:sp>
        <p:nvSpPr>
          <p:cNvPr id="5" name="Right Bracket 4">
            <a:extLst>
              <a:ext uri="{FF2B5EF4-FFF2-40B4-BE49-F238E27FC236}">
                <a16:creationId xmlns:a16="http://schemas.microsoft.com/office/drawing/2014/main" id="{AAB7AB2E-9D5C-4788-B2F4-EE700A0388EF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791EFB-96A9-4E66-ACEC-C194A559409A}"/>
              </a:ext>
            </a:extLst>
          </p:cNvPr>
          <p:cNvSpPr txBox="1"/>
          <p:nvPr/>
        </p:nvSpPr>
        <p:spPr>
          <a:xfrm>
            <a:off x="311881" y="5085539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49F09-C938-4C36-91F1-0E86A9B3417A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24C9B85-10B5-4EAF-8EAB-5F4CEB20D66E}"/>
              </a:ext>
            </a:extLst>
          </p:cNvPr>
          <p:cNvCxnSpPr>
            <a:cxnSpLocks/>
          </p:cNvCxnSpPr>
          <p:nvPr/>
        </p:nvCxnSpPr>
        <p:spPr>
          <a:xfrm flipV="1">
            <a:off x="5396665" y="2825545"/>
            <a:ext cx="1369832" cy="2498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DB4AB5D-B77D-463B-8BE8-7367184C8FFC}"/>
              </a:ext>
            </a:extLst>
          </p:cNvPr>
          <p:cNvCxnSpPr>
            <a:cxnSpLocks/>
          </p:cNvCxnSpPr>
          <p:nvPr/>
        </p:nvCxnSpPr>
        <p:spPr>
          <a:xfrm>
            <a:off x="9922847" y="5387437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1DCE89DA-0FB9-4094-AC69-A37A7F5B3240}"/>
              </a:ext>
            </a:extLst>
          </p:cNvPr>
          <p:cNvSpPr/>
          <p:nvPr/>
        </p:nvSpPr>
        <p:spPr>
          <a:xfrm>
            <a:off x="4250147" y="2993800"/>
            <a:ext cx="1392554" cy="57708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32597">
              <a:defRPr/>
            </a:pPr>
            <a:r>
              <a:rPr lang="en-US" sz="1050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Data Lake Storage Gen2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FE07D9-C13C-4DE2-8538-EF180B5821AF}"/>
              </a:ext>
            </a:extLst>
          </p:cNvPr>
          <p:cNvSpPr/>
          <p:nvPr/>
        </p:nvSpPr>
        <p:spPr>
          <a:xfrm>
            <a:off x="2672827" y="2993800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4252A1-28FB-4074-B493-D608E904E0A0}"/>
              </a:ext>
            </a:extLst>
          </p:cNvPr>
          <p:cNvSpPr/>
          <p:nvPr/>
        </p:nvSpPr>
        <p:spPr>
          <a:xfrm>
            <a:off x="2667836" y="4965229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D9C763-FE96-4705-BBA1-754982D1464A}"/>
              </a:ext>
            </a:extLst>
          </p:cNvPr>
          <p:cNvSpPr/>
          <p:nvPr/>
        </p:nvSpPr>
        <p:spPr>
          <a:xfrm>
            <a:off x="6502777" y="2993800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ABF78C-A11E-4DD9-9A98-C1CD78CA4978}"/>
              </a:ext>
            </a:extLst>
          </p:cNvPr>
          <p:cNvGrpSpPr/>
          <p:nvPr/>
        </p:nvGrpSpPr>
        <p:grpSpPr>
          <a:xfrm>
            <a:off x="574936" y="4586070"/>
            <a:ext cx="1064771" cy="406286"/>
            <a:chOff x="579957" y="1614888"/>
            <a:chExt cx="1064771" cy="40628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14A75FA-EEAE-4FF6-9C7D-AB9303B3999F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40FCCE03-ABBA-40E0-A16C-7477921A64D7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9269CBA2-A58E-43AB-85D5-FB4106817065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5F2CEDB-321B-4F3D-BE39-3A5BF4EDF03B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942AC1CC-2E27-4FA8-8711-0DE23AEB4620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5279ADB5-CB8F-4BEE-BEC8-BC24BE048D7A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644D0E42-3542-444F-B3C3-3FA706B5E591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BD88F1A4-F10F-4E58-B794-A23CA0729A0E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3B1927C-72EE-4C31-92FE-C4AB7B9BB94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18" name="Freeform 106">
                <a:extLst>
                  <a:ext uri="{FF2B5EF4-FFF2-40B4-BE49-F238E27FC236}">
                    <a16:creationId xmlns:a16="http://schemas.microsoft.com/office/drawing/2014/main" id="{55D6D5DE-61D3-4102-8FD1-6750E45B4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670BAFFE-8F68-44DB-B3CC-2646CCB23B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BD445FC8-A5E9-444A-A18D-B23C1EE2D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74FFC060-796A-43DE-A859-427D3DBD9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A03717A-8594-4713-8DE5-8B6A85722A08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30" name="Group 4">
              <a:extLst>
                <a:ext uri="{FF2B5EF4-FFF2-40B4-BE49-F238E27FC236}">
                  <a16:creationId xmlns:a16="http://schemas.microsoft.com/office/drawing/2014/main" id="{9162E49A-1092-4577-99D2-5F5C04904C6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42" name="Freeform 5">
                <a:extLst>
                  <a:ext uri="{FF2B5EF4-FFF2-40B4-BE49-F238E27FC236}">
                    <a16:creationId xmlns:a16="http://schemas.microsoft.com/office/drawing/2014/main" id="{15EC4908-3D30-4842-99FD-48F7028C2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" name="Freeform 6">
                <a:extLst>
                  <a:ext uri="{FF2B5EF4-FFF2-40B4-BE49-F238E27FC236}">
                    <a16:creationId xmlns:a16="http://schemas.microsoft.com/office/drawing/2014/main" id="{D5217147-88CF-468A-A16B-FFADD5F80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EF129020-94C6-4A07-8E59-4E4FA5A45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8406CD5-5DF3-4C4B-911F-BFC9E65E890D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3C1873A-6823-4C9B-B05A-7960726710CE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40" name="Snip Single Corner Rectangle 26">
                  <a:extLst>
                    <a:ext uri="{FF2B5EF4-FFF2-40B4-BE49-F238E27FC236}">
                      <a16:creationId xmlns:a16="http://schemas.microsoft.com/office/drawing/2014/main" id="{1F4F5379-77C6-4660-B7BE-BCD042698837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1" name="Triangle 27">
                  <a:extLst>
                    <a:ext uri="{FF2B5EF4-FFF2-40B4-BE49-F238E27FC236}">
                      <a16:creationId xmlns:a16="http://schemas.microsoft.com/office/drawing/2014/main" id="{FF271D8E-12FF-4053-A869-A15F54A70B9D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A34AB135-F31D-44F4-84FE-4815FA8D4F0E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B95863E-6698-48D0-9B81-ED649AB79192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421CBBA-9E14-465B-A6F6-60F01EEAFC2D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F0808B3-4F31-47C5-9066-B399FEF042AA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1044339-D151-414A-B209-4CD37E763119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2737603C-EFE6-47A9-A50F-47FAABD7155D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Isosceles Triangle 33">
                <a:extLst>
                  <a:ext uri="{FF2B5EF4-FFF2-40B4-BE49-F238E27FC236}">
                    <a16:creationId xmlns:a16="http://schemas.microsoft.com/office/drawing/2014/main" id="{A6B6A7B8-0E11-4EDD-96A6-A4B54BD6EF20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52EE3C2-464C-4F61-977A-EC4E06D2032C}"/>
              </a:ext>
            </a:extLst>
          </p:cNvPr>
          <p:cNvGrpSpPr/>
          <p:nvPr/>
        </p:nvGrpSpPr>
        <p:grpSpPr>
          <a:xfrm>
            <a:off x="4674257" y="2505757"/>
            <a:ext cx="554226" cy="494220"/>
            <a:chOff x="2488012" y="1320237"/>
            <a:chExt cx="4696415" cy="4187934"/>
          </a:xfrm>
        </p:grpSpPr>
        <p:sp>
          <p:nvSpPr>
            <p:cNvPr id="46" name="Hexagon 45">
              <a:extLst>
                <a:ext uri="{FF2B5EF4-FFF2-40B4-BE49-F238E27FC236}">
                  <a16:creationId xmlns:a16="http://schemas.microsoft.com/office/drawing/2014/main" id="{3359A687-7A20-448C-824C-5F1637BF1340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Snip Single Corner Rectangle 26">
              <a:extLst>
                <a:ext uri="{FF2B5EF4-FFF2-40B4-BE49-F238E27FC236}">
                  <a16:creationId xmlns:a16="http://schemas.microsoft.com/office/drawing/2014/main" id="{71B0BDD6-18D2-47EF-947B-3E6BEF64B5F2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96A4236-44A0-4C1B-8760-BCC4060F9EE9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6C73A95-3C6E-4813-B92E-6565A9EC93C1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3AFF0096-56CB-4435-8D70-9E127882C8F9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43F8457-79ED-405E-BB02-1C2D578FF67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307F8690-458C-46F9-854F-6AEFA9AF47DC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9" name="Right Triangle 48">
              <a:extLst>
                <a:ext uri="{FF2B5EF4-FFF2-40B4-BE49-F238E27FC236}">
                  <a16:creationId xmlns:a16="http://schemas.microsoft.com/office/drawing/2014/main" id="{90EE31FE-558D-45A3-90F5-711F798B717E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10FCD9-CF09-409D-9494-7D6E20EBC8EE}"/>
              </a:ext>
            </a:extLst>
          </p:cNvPr>
          <p:cNvGrpSpPr/>
          <p:nvPr/>
        </p:nvGrpSpPr>
        <p:grpSpPr>
          <a:xfrm>
            <a:off x="2953700" y="2509141"/>
            <a:ext cx="485337" cy="487453"/>
            <a:chOff x="5279190" y="5401430"/>
            <a:chExt cx="1101836" cy="1106637"/>
          </a:xfrm>
        </p:grpSpPr>
        <p:sp>
          <p:nvSpPr>
            <p:cNvPr id="55" name="Freeform: Shape 815">
              <a:extLst>
                <a:ext uri="{FF2B5EF4-FFF2-40B4-BE49-F238E27FC236}">
                  <a16:creationId xmlns:a16="http://schemas.microsoft.com/office/drawing/2014/main" id="{5B022782-7D95-490E-A5B3-6DABAFA6AFBA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816">
              <a:extLst>
                <a:ext uri="{FF2B5EF4-FFF2-40B4-BE49-F238E27FC236}">
                  <a16:creationId xmlns:a16="http://schemas.microsoft.com/office/drawing/2014/main" id="{B6D0B159-8E79-4651-8354-04063FF1EF32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817">
              <a:extLst>
                <a:ext uri="{FF2B5EF4-FFF2-40B4-BE49-F238E27FC236}">
                  <a16:creationId xmlns:a16="http://schemas.microsoft.com/office/drawing/2014/main" id="{28B123D4-6392-455E-A473-74E033051344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818">
              <a:extLst>
                <a:ext uri="{FF2B5EF4-FFF2-40B4-BE49-F238E27FC236}">
                  <a16:creationId xmlns:a16="http://schemas.microsoft.com/office/drawing/2014/main" id="{2D004FE4-3242-4351-A813-18EEFC28BE30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59" name="Freeform: Shape 819">
              <a:extLst>
                <a:ext uri="{FF2B5EF4-FFF2-40B4-BE49-F238E27FC236}">
                  <a16:creationId xmlns:a16="http://schemas.microsoft.com/office/drawing/2014/main" id="{8A5067FE-D096-4DCC-A607-A78A28437174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89C201B-BDD0-47C1-A002-032C88B051C8}"/>
              </a:ext>
            </a:extLst>
          </p:cNvPr>
          <p:cNvCxnSpPr>
            <a:cxnSpLocks/>
            <a:stCxn id="10" idx="2"/>
          </p:cNvCxnSpPr>
          <p:nvPr/>
        </p:nvCxnSpPr>
        <p:spPr>
          <a:xfrm rot="16200000" flipH="1">
            <a:off x="6371128" y="2146177"/>
            <a:ext cx="1015191" cy="3864598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0953159-B614-4014-B2A8-F3BCF6E1604B}"/>
              </a:ext>
            </a:extLst>
          </p:cNvPr>
          <p:cNvCxnSpPr>
            <a:cxnSpLocks/>
          </p:cNvCxnSpPr>
          <p:nvPr/>
        </p:nvCxnSpPr>
        <p:spPr>
          <a:xfrm>
            <a:off x="3572438" y="471291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FFB9E69-706A-487E-8726-27C8E5CCB939}"/>
              </a:ext>
            </a:extLst>
          </p:cNvPr>
          <p:cNvCxnSpPr>
            <a:cxnSpLocks/>
          </p:cNvCxnSpPr>
          <p:nvPr/>
        </p:nvCxnSpPr>
        <p:spPr>
          <a:xfrm flipV="1">
            <a:off x="3572437" y="2818791"/>
            <a:ext cx="933638" cy="925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AC628E4C-A7AD-46A7-ADF3-DA9942BCCA03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664EEE28-2950-4FEC-B238-E9A347F8183C}"/>
              </a:ext>
            </a:extLst>
          </p:cNvPr>
          <p:cNvCxnSpPr>
            <a:cxnSpLocks/>
          </p:cNvCxnSpPr>
          <p:nvPr/>
        </p:nvCxnSpPr>
        <p:spPr>
          <a:xfrm>
            <a:off x="2316994" y="4635035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6E34673-8320-494E-9355-5D7373268EB5}"/>
              </a:ext>
            </a:extLst>
          </p:cNvPr>
          <p:cNvGrpSpPr/>
          <p:nvPr/>
        </p:nvGrpSpPr>
        <p:grpSpPr>
          <a:xfrm>
            <a:off x="2953700" y="4395430"/>
            <a:ext cx="485337" cy="487453"/>
            <a:chOff x="5279190" y="5401430"/>
            <a:chExt cx="1101836" cy="1106637"/>
          </a:xfrm>
        </p:grpSpPr>
        <p:sp>
          <p:nvSpPr>
            <p:cNvPr id="66" name="Freeform: Shape 815">
              <a:extLst>
                <a:ext uri="{FF2B5EF4-FFF2-40B4-BE49-F238E27FC236}">
                  <a16:creationId xmlns:a16="http://schemas.microsoft.com/office/drawing/2014/main" id="{9503E7E0-2F38-44AE-9453-3FADECE2DE14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7" name="Freeform: Shape 816">
              <a:extLst>
                <a:ext uri="{FF2B5EF4-FFF2-40B4-BE49-F238E27FC236}">
                  <a16:creationId xmlns:a16="http://schemas.microsoft.com/office/drawing/2014/main" id="{D42502AB-5592-412F-9692-BB6C583CC641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8" name="Freeform: Shape 817">
              <a:extLst>
                <a:ext uri="{FF2B5EF4-FFF2-40B4-BE49-F238E27FC236}">
                  <a16:creationId xmlns:a16="http://schemas.microsoft.com/office/drawing/2014/main" id="{27C8707D-98F8-4568-A4BD-442DFA8670D7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Freeform: Shape 818">
              <a:extLst>
                <a:ext uri="{FF2B5EF4-FFF2-40B4-BE49-F238E27FC236}">
                  <a16:creationId xmlns:a16="http://schemas.microsoft.com/office/drawing/2014/main" id="{4EF73B00-CAB3-43CA-97AA-60092C179800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70" name="Freeform: Shape 819">
              <a:extLst>
                <a:ext uri="{FF2B5EF4-FFF2-40B4-BE49-F238E27FC236}">
                  <a16:creationId xmlns:a16="http://schemas.microsoft.com/office/drawing/2014/main" id="{32A8B49E-5908-4040-B13C-988A5D54DC3C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1" name="Shape 101">
            <a:extLst>
              <a:ext uri="{FF2B5EF4-FFF2-40B4-BE49-F238E27FC236}">
                <a16:creationId xmlns:a16="http://schemas.microsoft.com/office/drawing/2014/main" id="{643E2A7F-6E30-4334-AC9D-4359271E42A6}"/>
              </a:ext>
            </a:extLst>
          </p:cNvPr>
          <p:cNvSpPr txBox="1"/>
          <p:nvPr/>
        </p:nvSpPr>
        <p:spPr>
          <a:xfrm>
            <a:off x="10602630" y="5387437"/>
            <a:ext cx="1516015" cy="25387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Browser/Device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05896833-F843-4227-902F-1FC1F976B229}"/>
              </a:ext>
            </a:extLst>
          </p:cNvPr>
          <p:cNvGrpSpPr/>
          <p:nvPr/>
        </p:nvGrpSpPr>
        <p:grpSpPr>
          <a:xfrm>
            <a:off x="10818474" y="4879638"/>
            <a:ext cx="669375" cy="526560"/>
            <a:chOff x="10725498" y="5087603"/>
            <a:chExt cx="498940" cy="424437"/>
          </a:xfrm>
        </p:grpSpPr>
        <p:sp>
          <p:nvSpPr>
            <p:cNvPr id="73" name="graph_2">
              <a:extLst>
                <a:ext uri="{FF2B5EF4-FFF2-40B4-BE49-F238E27FC236}">
                  <a16:creationId xmlns:a16="http://schemas.microsoft.com/office/drawing/2014/main" id="{37D02ADC-1749-4E4A-A3AC-187745E6E7B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D8364ADF-C3BE-4F4D-9BE3-D3436D3E3B39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75" name="Rectangle 9">
                <a:extLst>
                  <a:ext uri="{FF2B5EF4-FFF2-40B4-BE49-F238E27FC236}">
                    <a16:creationId xmlns:a16="http://schemas.microsoft.com/office/drawing/2014/main" id="{E17075C8-4FB3-44C6-B3F3-C4D79F0D6B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" name="Line 10">
                <a:extLst>
                  <a:ext uri="{FF2B5EF4-FFF2-40B4-BE49-F238E27FC236}">
                    <a16:creationId xmlns:a16="http://schemas.microsoft.com/office/drawing/2014/main" id="{9E4815A8-BB5B-4142-A7DD-2EAB0E6915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" name="Oval 11">
                <a:extLst>
                  <a:ext uri="{FF2B5EF4-FFF2-40B4-BE49-F238E27FC236}">
                    <a16:creationId xmlns:a16="http://schemas.microsoft.com/office/drawing/2014/main" id="{9EA22788-4CE4-427F-9D48-BA75D83BA7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" name="Oval 12">
                <a:extLst>
                  <a:ext uri="{FF2B5EF4-FFF2-40B4-BE49-F238E27FC236}">
                    <a16:creationId xmlns:a16="http://schemas.microsoft.com/office/drawing/2014/main" id="{2D3F8121-BF6F-4501-9161-6FAADB31E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" name="Oval 13">
                <a:extLst>
                  <a:ext uri="{FF2B5EF4-FFF2-40B4-BE49-F238E27FC236}">
                    <a16:creationId xmlns:a16="http://schemas.microsoft.com/office/drawing/2014/main" id="{6C58CA77-F595-4C9D-93BB-CA3E398CC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1D6A1725-95CF-4A8E-A877-93FC73849533}"/>
              </a:ext>
            </a:extLst>
          </p:cNvPr>
          <p:cNvGrpSpPr/>
          <p:nvPr/>
        </p:nvGrpSpPr>
        <p:grpSpPr>
          <a:xfrm>
            <a:off x="6916933" y="2510033"/>
            <a:ext cx="595274" cy="485668"/>
            <a:chOff x="5818113" y="2550840"/>
            <a:chExt cx="529278" cy="431824"/>
          </a:xfrm>
        </p:grpSpPr>
        <p:sp>
          <p:nvSpPr>
            <p:cNvPr id="81" name="Diamond 80">
              <a:extLst>
                <a:ext uri="{FF2B5EF4-FFF2-40B4-BE49-F238E27FC236}">
                  <a16:creationId xmlns:a16="http://schemas.microsoft.com/office/drawing/2014/main" id="{70E37336-7214-4FDD-ACE6-5DFAB4D8ACFB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5A580FB0-85B5-4481-B3CF-47896F04F80A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04401A94-2B95-4788-A3F9-5C6010700C84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FC45EA7-11FE-454D-BB8B-376CDA1CE5FB}"/>
              </a:ext>
            </a:extLst>
          </p:cNvPr>
          <p:cNvSpPr/>
          <p:nvPr/>
        </p:nvSpPr>
        <p:spPr bwMode="auto">
          <a:xfrm>
            <a:off x="861602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4404849-2604-463D-8192-3E4BD6AEE1DF}"/>
              </a:ext>
            </a:extLst>
          </p:cNvPr>
          <p:cNvSpPr/>
          <p:nvPr/>
        </p:nvSpPr>
        <p:spPr bwMode="auto">
          <a:xfrm>
            <a:off x="6608998" y="1759613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D68BDF6-CA54-4CAA-829E-B0A404874D92}"/>
              </a:ext>
            </a:extLst>
          </p:cNvPr>
          <p:cNvSpPr/>
          <p:nvPr/>
        </p:nvSpPr>
        <p:spPr bwMode="auto">
          <a:xfrm>
            <a:off x="4267843" y="1759613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E11F27E-562A-4641-8F70-0AFF53915489}"/>
              </a:ext>
            </a:extLst>
          </p:cNvPr>
          <p:cNvSpPr/>
          <p:nvPr/>
        </p:nvSpPr>
        <p:spPr bwMode="auto">
          <a:xfrm>
            <a:off x="2609300" y="1759613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811BF68E-FF3D-4C95-998C-25D2EADFC370}"/>
              </a:ext>
            </a:extLst>
          </p:cNvPr>
          <p:cNvCxnSpPr>
            <a:cxnSpLocks/>
            <a:stCxn id="14" idx="2"/>
          </p:cNvCxnSpPr>
          <p:nvPr/>
        </p:nvCxnSpPr>
        <p:spPr>
          <a:xfrm rot="16200000" flipH="1">
            <a:off x="7519240" y="3107134"/>
            <a:ext cx="989616" cy="1593944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97732004-1A4C-4443-8298-8E71973144A3}"/>
              </a:ext>
            </a:extLst>
          </p:cNvPr>
          <p:cNvSpPr/>
          <p:nvPr/>
        </p:nvSpPr>
        <p:spPr bwMode="auto">
          <a:xfrm>
            <a:off x="1042029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83E8CD5A-4B0D-4E69-9FBB-8D2CA97C1735}"/>
              </a:ext>
            </a:extLst>
          </p:cNvPr>
          <p:cNvSpPr/>
          <p:nvPr/>
        </p:nvSpPr>
        <p:spPr bwMode="auto">
          <a:xfrm>
            <a:off x="8876002" y="4181263"/>
            <a:ext cx="1039148" cy="616657"/>
          </a:xfrm>
          <a:prstGeom prst="ellipse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Segoe UI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C3D513F-7288-44F9-9294-3F4973BA45DD}"/>
              </a:ext>
            </a:extLst>
          </p:cNvPr>
          <p:cNvSpPr/>
          <p:nvPr/>
        </p:nvSpPr>
        <p:spPr>
          <a:xfrm>
            <a:off x="8875764" y="4362660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smosDB</a:t>
            </a: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B9F6B9FF-73C3-4C67-A907-49C11078F9AF}"/>
              </a:ext>
            </a:extLst>
          </p:cNvPr>
          <p:cNvCxnSpPr>
            <a:cxnSpLocks/>
          </p:cNvCxnSpPr>
          <p:nvPr/>
        </p:nvCxnSpPr>
        <p:spPr>
          <a:xfrm>
            <a:off x="9364306" y="4843871"/>
            <a:ext cx="0" cy="30434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E3A241F0-21B9-47D7-A79F-A9E535EF3FC4}"/>
              </a:ext>
            </a:extLst>
          </p:cNvPr>
          <p:cNvSpPr/>
          <p:nvPr/>
        </p:nvSpPr>
        <p:spPr bwMode="auto">
          <a:xfrm>
            <a:off x="8988152" y="5187649"/>
            <a:ext cx="886854" cy="502982"/>
          </a:xfrm>
          <a:prstGeom prst="rect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Segoe UI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2DAE59F-3BF7-4734-B94A-367F6C742DC4}"/>
              </a:ext>
            </a:extLst>
          </p:cNvPr>
          <p:cNvSpPr/>
          <p:nvPr/>
        </p:nvSpPr>
        <p:spPr>
          <a:xfrm>
            <a:off x="8908038" y="528527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aaS App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AB9145F5-7D05-4400-9F36-3F7C247695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136" y="3074760"/>
            <a:ext cx="1627773" cy="1347333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CE912937-96B4-4814-9B0F-2C9EDB8782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8152" y="3958971"/>
            <a:ext cx="795521" cy="41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79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3B91A-3179-407A-9D4D-722EAFFD2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3918"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Lift Existing SSIS + SQL Projects to Clou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576352-3AF1-42C7-9108-505FB4E52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7244" y="5351849"/>
            <a:ext cx="1667115" cy="26288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0F32B31-41B1-4723-B025-86D4AC15CE10}"/>
              </a:ext>
            </a:extLst>
          </p:cNvPr>
          <p:cNvCxnSpPr/>
          <p:nvPr/>
        </p:nvCxnSpPr>
        <p:spPr>
          <a:xfrm>
            <a:off x="281392" y="3999514"/>
            <a:ext cx="11590119" cy="67770"/>
          </a:xfrm>
          <a:prstGeom prst="line">
            <a:avLst/>
          </a:prstGeom>
          <a:ln w="12700">
            <a:solidFill>
              <a:schemeClr val="accent1">
                <a:shade val="95000"/>
                <a:satMod val="150000"/>
                <a:alpha val="30000"/>
              </a:schemeClr>
            </a:solidFill>
            <a:prstDash val="dash"/>
            <a:headEnd type="none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087FCFDC-33BF-4231-8900-2C67BBC49068}"/>
              </a:ext>
            </a:extLst>
          </p:cNvPr>
          <p:cNvGrpSpPr/>
          <p:nvPr/>
        </p:nvGrpSpPr>
        <p:grpSpPr>
          <a:xfrm>
            <a:off x="8864984" y="4919709"/>
            <a:ext cx="1380494" cy="926165"/>
            <a:chOff x="8864984" y="4919709"/>
            <a:chExt cx="1380494" cy="92616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EFB48F8-9B07-429D-859E-338B6AF0EC0F}"/>
                </a:ext>
              </a:extLst>
            </p:cNvPr>
            <p:cNvSpPr/>
            <p:nvPr/>
          </p:nvSpPr>
          <p:spPr>
            <a:xfrm>
              <a:off x="8864984" y="5539913"/>
              <a:ext cx="1380494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SQL Server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69AA5C0-139D-4054-A44C-2F18CE9E0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223" y="4919709"/>
              <a:ext cx="647367" cy="69502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92895A3-5FC5-4AF1-958C-4FE72FBFC86D}"/>
              </a:ext>
            </a:extLst>
          </p:cNvPr>
          <p:cNvGrpSpPr/>
          <p:nvPr/>
        </p:nvGrpSpPr>
        <p:grpSpPr>
          <a:xfrm>
            <a:off x="1767929" y="4881489"/>
            <a:ext cx="2238009" cy="967746"/>
            <a:chOff x="2029191" y="5129863"/>
            <a:chExt cx="2238009" cy="96774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A052CE6-D39E-4BCC-85A6-FF22E391EE8E}"/>
                </a:ext>
              </a:extLst>
            </p:cNvPr>
            <p:cNvSpPr/>
            <p:nvPr/>
          </p:nvSpPr>
          <p:spPr>
            <a:xfrm>
              <a:off x="2029191" y="5791648"/>
              <a:ext cx="2238009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On-Premise data sources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49EA178-56F8-4E28-814A-5BB0B5C694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99959" y="5129863"/>
              <a:ext cx="817365" cy="679691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6161237-E0AD-4851-9FB8-54D719B81283}"/>
              </a:ext>
            </a:extLst>
          </p:cNvPr>
          <p:cNvGrpSpPr/>
          <p:nvPr/>
        </p:nvGrpSpPr>
        <p:grpSpPr>
          <a:xfrm>
            <a:off x="2047678" y="2079124"/>
            <a:ext cx="1615904" cy="1148879"/>
            <a:chOff x="2125548" y="1857159"/>
            <a:chExt cx="1615904" cy="114887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E40BCA5-6171-49E9-8544-9FFE25AEFE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12363" y="1857159"/>
              <a:ext cx="904883" cy="921042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9BE89D8-B0B7-4711-8FDE-0A9A7840803D}"/>
                </a:ext>
              </a:extLst>
            </p:cNvPr>
            <p:cNvSpPr/>
            <p:nvPr/>
          </p:nvSpPr>
          <p:spPr>
            <a:xfrm>
              <a:off x="2125548" y="2700077"/>
              <a:ext cx="1615904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Cloud data sources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17B45166-CD6E-4FDF-A4A3-331B4A138319}"/>
              </a:ext>
            </a:extLst>
          </p:cNvPr>
          <p:cNvSpPr/>
          <p:nvPr/>
        </p:nvSpPr>
        <p:spPr>
          <a:xfrm>
            <a:off x="118378" y="3717848"/>
            <a:ext cx="769852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04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D36EC04-C6D9-401A-9D13-13BBD3DC92F5}"/>
              </a:ext>
            </a:extLst>
          </p:cNvPr>
          <p:cNvSpPr/>
          <p:nvPr/>
        </p:nvSpPr>
        <p:spPr>
          <a:xfrm>
            <a:off x="118378" y="3999514"/>
            <a:ext cx="1192231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04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n-premis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6C95CD6-8914-49DA-94A0-085D0B2514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7393" y="5351849"/>
            <a:ext cx="1839111" cy="26288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8624B8D-975F-4D6D-98BB-E5D4A6189910}"/>
              </a:ext>
            </a:extLst>
          </p:cNvPr>
          <p:cNvGrpSpPr/>
          <p:nvPr/>
        </p:nvGrpSpPr>
        <p:grpSpPr>
          <a:xfrm>
            <a:off x="3796081" y="3268614"/>
            <a:ext cx="2077433" cy="2344870"/>
            <a:chOff x="3796081" y="3268614"/>
            <a:chExt cx="2077433" cy="234487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299BE50-96BB-4B3A-A568-7A59F9BBD119}"/>
                </a:ext>
              </a:extLst>
            </p:cNvPr>
            <p:cNvSpPr/>
            <p:nvPr/>
          </p:nvSpPr>
          <p:spPr>
            <a:xfrm>
              <a:off x="4178141" y="4318176"/>
              <a:ext cx="725996" cy="27155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VNET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CE0C34F-932C-469A-B8F6-F612AD499A92}"/>
                </a:ext>
              </a:extLst>
            </p:cNvPr>
            <p:cNvGrpSpPr/>
            <p:nvPr/>
          </p:nvGrpSpPr>
          <p:grpSpPr>
            <a:xfrm>
              <a:off x="3796081" y="3268614"/>
              <a:ext cx="2077433" cy="2344870"/>
              <a:chOff x="3796081" y="3268614"/>
              <a:chExt cx="2077433" cy="2344870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D9E48BF8-592C-418C-8000-F5E93AB193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01165" y="3703597"/>
                <a:ext cx="930843" cy="668922"/>
              </a:xfrm>
              <a:prstGeom prst="rect">
                <a:avLst/>
              </a:prstGeom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54C6F9F9-DBE0-4860-869D-6A6A1DEA34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96081" y="4523617"/>
                <a:ext cx="828598" cy="1089867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2C18B4C1-E9E5-4505-A0FE-2D553D24E6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79452" y="3268614"/>
                <a:ext cx="994062" cy="1042711"/>
              </a:xfrm>
              <a:prstGeom prst="rect">
                <a:avLst/>
              </a:prstGeom>
            </p:spPr>
          </p:pic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1462EE93-1AFD-415C-A129-89B84B27836F}"/>
              </a:ext>
            </a:extLst>
          </p:cNvPr>
          <p:cNvSpPr txBox="1"/>
          <p:nvPr/>
        </p:nvSpPr>
        <p:spPr>
          <a:xfrm>
            <a:off x="5444360" y="5183777"/>
            <a:ext cx="1982204" cy="8771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QL Server Integration Services (SSIS)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844936-6E44-4C3F-A522-6434FA54ABFD}"/>
              </a:ext>
            </a:extLst>
          </p:cNvPr>
          <p:cNvGrpSpPr/>
          <p:nvPr/>
        </p:nvGrpSpPr>
        <p:grpSpPr>
          <a:xfrm>
            <a:off x="3777243" y="2250630"/>
            <a:ext cx="6747678" cy="2440660"/>
            <a:chOff x="3777243" y="2250630"/>
            <a:chExt cx="6747678" cy="2440660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4FF578B-96D5-4938-884E-D81CD02B4501}"/>
                </a:ext>
              </a:extLst>
            </p:cNvPr>
            <p:cNvGrpSpPr/>
            <p:nvPr/>
          </p:nvGrpSpPr>
          <p:grpSpPr>
            <a:xfrm>
              <a:off x="8352997" y="2258851"/>
              <a:ext cx="2171924" cy="969151"/>
              <a:chOff x="8352997" y="2258851"/>
              <a:chExt cx="2171924" cy="969151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462D118B-252D-4DB2-80B6-3DEC16A469E0}"/>
                  </a:ext>
                </a:extLst>
              </p:cNvPr>
              <p:cNvSpPr/>
              <p:nvPr/>
            </p:nvSpPr>
            <p:spPr>
              <a:xfrm>
                <a:off x="8352997" y="2922041"/>
                <a:ext cx="2171924" cy="305961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SQL DB Managed Instance</a:t>
                </a: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E4F1F885-ECF8-41D5-B67F-FFDD697954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97742" y="2258851"/>
                <a:ext cx="731848" cy="721958"/>
              </a:xfrm>
              <a:prstGeom prst="rect">
                <a:avLst/>
              </a:prstGeom>
            </p:spPr>
          </p:pic>
        </p:grp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8B8A4EF-25FB-4E7C-83C0-D65579C09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7243" y="2547754"/>
              <a:ext cx="1667115" cy="262886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61B39D3-41A7-4760-AAE5-53CC096FD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7393" y="2514365"/>
              <a:ext cx="1679964" cy="262886"/>
            </a:xfrm>
            <a:prstGeom prst="rect">
              <a:avLst/>
            </a:prstGeom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712D71A-3131-471C-A838-896F9B2F5C54}"/>
                </a:ext>
              </a:extLst>
            </p:cNvPr>
            <p:cNvGrpSpPr/>
            <p:nvPr/>
          </p:nvGrpSpPr>
          <p:grpSpPr>
            <a:xfrm>
              <a:off x="5286882" y="2250630"/>
              <a:ext cx="2222540" cy="983864"/>
              <a:chOff x="5102951" y="2250630"/>
              <a:chExt cx="2222540" cy="983864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7DAF879-D8CD-457A-8FD7-733AC97BC068}"/>
                  </a:ext>
                </a:extLst>
              </p:cNvPr>
              <p:cNvSpPr/>
              <p:nvPr/>
            </p:nvSpPr>
            <p:spPr>
              <a:xfrm>
                <a:off x="5102951" y="2926717"/>
                <a:ext cx="2222540" cy="3077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Azure Data Factory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7EB30429-A9CC-4C6E-B80E-6B866563BC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16037" y="2250630"/>
                <a:ext cx="688925" cy="679615"/>
              </a:xfrm>
              <a:prstGeom prst="rect">
                <a:avLst/>
              </a:prstGeom>
            </p:spPr>
          </p:pic>
        </p:grp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3C13BA53-8ED4-4C3A-BAEF-F78D68C95D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99504" y="3502570"/>
              <a:ext cx="0" cy="118872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43325184-719F-489D-9758-17A2F38E69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47200" y="3502570"/>
              <a:ext cx="0" cy="118872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5617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5F8BA-DD9D-4376-8509-72FC89781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15663"/>
          </a:xfrm>
        </p:spPr>
        <p:txBody>
          <a:bodyPr/>
          <a:lstStyle/>
          <a:p>
            <a:r>
              <a:rPr lang="en-US" sz="6000"/>
              <a:t>ADF Overview</a:t>
            </a:r>
          </a:p>
        </p:txBody>
      </p:sp>
    </p:spTree>
    <p:extLst>
      <p:ext uri="{BB962C8B-B14F-4D97-AF65-F5344CB8AC3E}">
        <p14:creationId xmlns:p14="http://schemas.microsoft.com/office/powerpoint/2010/main" val="368166402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3979888-81B7-4B5F-B4B5-70ED2543E769}"/>
              </a:ext>
            </a:extLst>
          </p:cNvPr>
          <p:cNvSpPr/>
          <p:nvPr/>
        </p:nvSpPr>
        <p:spPr bwMode="auto">
          <a:xfrm>
            <a:off x="0" y="2982676"/>
            <a:ext cx="12192000" cy="38753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386409-3525-4A1A-8A60-22C3A15446D2}"/>
              </a:ext>
            </a:extLst>
          </p:cNvPr>
          <p:cNvSpPr/>
          <p:nvPr/>
        </p:nvSpPr>
        <p:spPr>
          <a:xfrm>
            <a:off x="3765455" y="631015"/>
            <a:ext cx="435728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4400" b="1" spc="-147">
                <a:ln w="3175">
                  <a:noFill/>
                </a:ln>
                <a:solidFill>
                  <a:srgbClr val="FFFFFF"/>
                </a:solidFill>
                <a:latin typeface="+mj-lt"/>
                <a:ea typeface="+mj-ea"/>
                <a:cs typeface="+mj-cs"/>
              </a:rPr>
              <a:t>Azure Data Factor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4157E4E-DB31-4304-97F9-4235A47F50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4611" y="703752"/>
            <a:ext cx="1448447" cy="14419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999E0C9-4433-4A50-8A4E-7209A3B5C0D0}"/>
              </a:ext>
            </a:extLst>
          </p:cNvPr>
          <p:cNvSpPr txBox="1"/>
          <p:nvPr/>
        </p:nvSpPr>
        <p:spPr>
          <a:xfrm>
            <a:off x="3765455" y="1473193"/>
            <a:ext cx="53917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93"/>
            <a:r>
              <a:rPr lang="en-US" sz="2400" spc="-100">
                <a:ln w="3175">
                  <a:noFill/>
                </a:ln>
                <a:solidFill>
                  <a:srgbClr val="FFFFFF"/>
                </a:solidFill>
                <a:latin typeface="Segoe UI"/>
              </a:rPr>
              <a:t>A fully-managed data integration service </a:t>
            </a:r>
          </a:p>
          <a:p>
            <a:pPr defTabSz="914093"/>
            <a:r>
              <a:rPr lang="en-US" sz="2400" spc="-100">
                <a:ln w="3175">
                  <a:noFill/>
                </a:ln>
                <a:solidFill>
                  <a:srgbClr val="FFFFFF"/>
                </a:solidFill>
                <a:latin typeface="Segoe UI"/>
              </a:rPr>
              <a:t>for cloud-scale analytics in Azu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970C6A-290F-4DC8-A566-07CEF14CA583}"/>
              </a:ext>
            </a:extLst>
          </p:cNvPr>
          <p:cNvSpPr/>
          <p:nvPr/>
        </p:nvSpPr>
        <p:spPr>
          <a:xfrm>
            <a:off x="4162831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/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alable &amp; Cost-Effect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1F6C7D-7539-41BF-B4D6-7A3C64CF49EC}"/>
              </a:ext>
            </a:extLst>
          </p:cNvPr>
          <p:cNvSpPr/>
          <p:nvPr/>
        </p:nvSpPr>
        <p:spPr>
          <a:xfrm>
            <a:off x="1379774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nected &amp; Integrat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2E7519-6B05-4CC4-97DB-961EFC2CF276}"/>
              </a:ext>
            </a:extLst>
          </p:cNvPr>
          <p:cNvSpPr/>
          <p:nvPr/>
        </p:nvSpPr>
        <p:spPr>
          <a:xfrm>
            <a:off x="9378868" y="4458186"/>
            <a:ext cx="1941719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116311-80A8-43A5-A363-EF155F37B0E7}"/>
              </a:ext>
            </a:extLst>
          </p:cNvPr>
          <p:cNvSpPr/>
          <p:nvPr/>
        </p:nvSpPr>
        <p:spPr>
          <a:xfrm>
            <a:off x="6702306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cure &amp; Complia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AF1ABF-B4F8-425A-93D4-D11F300E0ED0}"/>
              </a:ext>
            </a:extLst>
          </p:cNvPr>
          <p:cNvSpPr/>
          <p:nvPr/>
        </p:nvSpPr>
        <p:spPr>
          <a:xfrm>
            <a:off x="1421339" y="5140093"/>
            <a:ext cx="1970672" cy="1175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Rich connectivity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Flexible orchestration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Full integration with Azure Data servic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1CF7133-F172-4661-AEEE-8805F3F81D3F}"/>
              </a:ext>
            </a:extLst>
          </p:cNvPr>
          <p:cNvSpPr/>
          <p:nvPr/>
        </p:nvSpPr>
        <p:spPr>
          <a:xfrm>
            <a:off x="9654003" y="5140093"/>
            <a:ext cx="1970672" cy="1545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Drag &amp; drop UI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Single-pane-of-glass monitoring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CICD model</a:t>
            </a:r>
          </a:p>
          <a:p>
            <a:pPr marL="279983" indent="-279983" defTabSz="913742">
              <a:buFont typeface="Wingdings" panose="05000000000000000000" pitchFamily="2" charset="2"/>
              <a:buChar char="ü"/>
              <a:defRPr/>
            </a:pPr>
            <a:endParaRPr lang="en-US" sz="1400">
              <a:solidFill>
                <a:srgbClr val="0078D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CA1E9BB-3F5E-4564-9BD8-1933156F7C00}"/>
              </a:ext>
            </a:extLst>
          </p:cNvPr>
          <p:cNvSpPr/>
          <p:nvPr/>
        </p:nvSpPr>
        <p:spPr>
          <a:xfrm>
            <a:off x="4282608" y="5140093"/>
            <a:ext cx="1969258" cy="827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Serverless scalability without infra mgmt.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Pay for us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7DF84E-BA03-496C-8F32-6B15421F7E7F}"/>
              </a:ext>
            </a:extLst>
          </p:cNvPr>
          <p:cNvSpPr/>
          <p:nvPr/>
        </p:nvSpPr>
        <p:spPr>
          <a:xfrm>
            <a:off x="6859285" y="5140093"/>
            <a:ext cx="2087287" cy="9702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Certified compliance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Enterprise grade security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MSI and AKV support</a:t>
            </a:r>
          </a:p>
        </p:txBody>
      </p:sp>
      <p:pic>
        <p:nvPicPr>
          <p:cNvPr id="19" name="Graphic 18" descr="Network">
            <a:extLst>
              <a:ext uri="{FF2B5EF4-FFF2-40B4-BE49-F238E27FC236}">
                <a16:creationId xmlns:a16="http://schemas.microsoft.com/office/drawing/2014/main" id="{B7024731-9B99-423C-ADB1-98AE445212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93433" y="3320504"/>
            <a:ext cx="914400" cy="914400"/>
          </a:xfrm>
          <a:prstGeom prst="rect">
            <a:avLst/>
          </a:prstGeom>
        </p:spPr>
      </p:pic>
      <p:pic>
        <p:nvPicPr>
          <p:cNvPr id="21" name="Graphic 20" descr="Upward trend">
            <a:extLst>
              <a:ext uri="{FF2B5EF4-FFF2-40B4-BE49-F238E27FC236}">
                <a16:creationId xmlns:a16="http://schemas.microsoft.com/office/drawing/2014/main" id="{3D2A56B4-AD9C-4AD5-A492-578A473DB1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76490" y="3320504"/>
            <a:ext cx="914400" cy="914400"/>
          </a:xfrm>
          <a:prstGeom prst="rect">
            <a:avLst/>
          </a:prstGeom>
        </p:spPr>
      </p:pic>
      <p:pic>
        <p:nvPicPr>
          <p:cNvPr id="25" name="Graphic 24" descr="Lock">
            <a:extLst>
              <a:ext uri="{FF2B5EF4-FFF2-40B4-BE49-F238E27FC236}">
                <a16:creationId xmlns:a16="http://schemas.microsoft.com/office/drawing/2014/main" id="{F133A09A-CDB5-48E6-B946-9176594272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06767" y="3320504"/>
            <a:ext cx="914400" cy="914400"/>
          </a:xfrm>
          <a:prstGeom prst="rect">
            <a:avLst/>
          </a:prstGeom>
        </p:spPr>
      </p:pic>
      <p:pic>
        <p:nvPicPr>
          <p:cNvPr id="27" name="Graphic 26" descr="Stopwatch">
            <a:extLst>
              <a:ext uri="{FF2B5EF4-FFF2-40B4-BE49-F238E27FC236}">
                <a16:creationId xmlns:a16="http://schemas.microsoft.com/office/drawing/2014/main" id="{E2363892-779D-4074-90B0-4E9A77A5C4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885503" y="332050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21404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10.xml><?xml version="1.0" encoding="utf-8"?>
<a:theme xmlns:a="http://schemas.openxmlformats.org/drawingml/2006/main" name="6_5-50173_Microsoft_Ready_Light_Template">
  <a:themeElements>
    <a:clrScheme name="Custom 3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0D1621-7EC8-4B51-A678-36097813A578}" vid="{BABC4CDB-E230-49BE-A9F6-33781B02F17C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1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14.xml><?xml version="1.0" encoding="utf-8"?>
<a:theme xmlns:a="http://schemas.openxmlformats.org/drawingml/2006/main" name="1_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15.xml><?xml version="1.0" encoding="utf-8"?>
<a:theme xmlns:a="http://schemas.openxmlformats.org/drawingml/2006/main" name="Azure PPT Template - 2018">
  <a:themeElements>
    <a:clrScheme name="Azure DevOps">
      <a:dk1>
        <a:srgbClr val="000000"/>
      </a:dk1>
      <a:lt1>
        <a:srgbClr val="FFFFFF"/>
      </a:lt1>
      <a:dk2>
        <a:srgbClr val="0078D7"/>
      </a:dk2>
      <a:lt2>
        <a:srgbClr val="FFFFFF"/>
      </a:lt2>
      <a:accent1>
        <a:srgbClr val="0078D7"/>
      </a:accent1>
      <a:accent2>
        <a:srgbClr val="4DB0FF"/>
      </a:accent2>
      <a:accent3>
        <a:srgbClr val="B1D6F2"/>
      </a:accent3>
      <a:accent4>
        <a:srgbClr val="035AA0"/>
      </a:accent4>
      <a:accent5>
        <a:srgbClr val="94D0FF"/>
      </a:accent5>
      <a:accent6>
        <a:srgbClr val="797979"/>
      </a:accent6>
      <a:hlink>
        <a:srgbClr val="0078D7"/>
      </a:hlink>
      <a:folHlink>
        <a:srgbClr val="00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PT Template 2018 presentation_v3" id="{1968021E-D85B-4A85-BB07-6BF24CCBC27F}" vid="{6E53F19A-D2E9-48F2-9B61-183D930FD7CB}"/>
    </a:ext>
  </a:extLst>
</a:theme>
</file>

<file path=ppt/theme/theme16.xml><?xml version="1.0" encoding="utf-8"?>
<a:theme xmlns:a="http://schemas.openxmlformats.org/drawingml/2006/main" name="5-50201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ta Engineering with Azure Databricks and Azure SQL DW to create your Modern Data Warehouse.potx" id="{E038BBD7-DA87-4434-B163-F79C17D36ADF}" vid="{9FDDA1E9-4A00-4E2B-ADE5-26B570CDF824}"/>
    </a:ext>
  </a:extLst>
</a:theme>
</file>

<file path=ppt/theme/theme17.xml><?xml version="1.0" encoding="utf-8"?>
<a:theme xmlns:a="http://schemas.openxmlformats.org/drawingml/2006/main" name="2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ta Engineering with Azure Databricks and Azure SQL DW to create your Modern Data Warehouse.potx" id="{E038BBD7-DA87-4434-B163-F79C17D36ADF}" vid="{0D197597-5802-4F59-9FB3-EEA4CE0331CD}"/>
    </a:ext>
  </a:extLst>
</a:theme>
</file>

<file path=ppt/theme/theme18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dern DW">
  <a:themeElements>
    <a:clrScheme name="Custom 21">
      <a:dk1>
        <a:srgbClr val="505050"/>
      </a:dk1>
      <a:lt1>
        <a:srgbClr val="FFFFFF"/>
      </a:lt1>
      <a:dk2>
        <a:srgbClr val="002050"/>
      </a:dk2>
      <a:lt2>
        <a:srgbClr val="70C7FF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70C7FF"/>
      </a:hlink>
      <a:folHlink>
        <a:srgbClr val="0078D7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4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5.xml><?xml version="1.0" encoding="utf-8"?>
<a:theme xmlns:a="http://schemas.openxmlformats.org/drawingml/2006/main" name="Microsoft Analytics &amp; Business Intelligence Partner Airlift">
  <a:themeElements>
    <a:clrScheme name="AA Airlift 2016">
      <a:dk1>
        <a:srgbClr val="505050"/>
      </a:dk1>
      <a:lt1>
        <a:srgbClr val="FFFFFF"/>
      </a:lt1>
      <a:dk2>
        <a:srgbClr val="0072C6"/>
      </a:dk2>
      <a:lt2>
        <a:srgbClr val="69C8CA"/>
      </a:lt2>
      <a:accent1>
        <a:srgbClr val="002050"/>
      </a:accent1>
      <a:accent2>
        <a:srgbClr val="B4009E"/>
      </a:accent2>
      <a:accent3>
        <a:srgbClr val="0072C6"/>
      </a:accent3>
      <a:accent4>
        <a:srgbClr val="008272"/>
      </a:accent4>
      <a:accent5>
        <a:srgbClr val="4668C5"/>
      </a:accent5>
      <a:accent6>
        <a:srgbClr val="68217A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 Analytics &amp; Business Intelligence Partner Airlift" id="{82F75C06-84D9-45DE-9414-AEC4320F6D88}" vid="{2FD723AC-42B4-484E-8C5D-EDFB37631561}"/>
    </a:ext>
  </a:extLst>
</a:theme>
</file>

<file path=ppt/theme/theme6.xml><?xml version="1.0" encoding="utf-8"?>
<a:theme xmlns:a="http://schemas.openxmlformats.org/drawingml/2006/main" name="1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7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8.xml><?xml version="1.0" encoding="utf-8"?>
<a:theme xmlns:a="http://schemas.openxmlformats.org/drawingml/2006/main" name="2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9.xml><?xml version="1.0" encoding="utf-8"?>
<a:theme xmlns:a="http://schemas.openxmlformats.org/drawingml/2006/main" name="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16x9_Breakout_Template.potx" id="{1A72F1D6-8E00-44B7-8612-A96C51648790}" vid="{FC63816D-7A82-403A-9DF6-29F1914C436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F1845C9BD6AA4E98B3FD76F89FFB49" ma:contentTypeVersion="12" ma:contentTypeDescription="Create a new document." ma:contentTypeScope="" ma:versionID="de72735fdd972e3d1b14df5afc3e88a8">
  <xsd:schema xmlns:xsd="http://www.w3.org/2001/XMLSchema" xmlns:xs="http://www.w3.org/2001/XMLSchema" xmlns:p="http://schemas.microsoft.com/office/2006/metadata/properties" xmlns:ns1="http://schemas.microsoft.com/sharepoint/v3" xmlns:ns2="c72baf73-1e2f-4845-a8f1-f9ebc7c339c2" xmlns:ns3="7b7be56a-1c9f-4992-8379-7082ff57f887" targetNamespace="http://schemas.microsoft.com/office/2006/metadata/properties" ma:root="true" ma:fieldsID="4fdeade304d41ca2b65708be3e3c5ef2" ns1:_="" ns2:_="" ns3:_="">
    <xsd:import namespace="http://schemas.microsoft.com/sharepoint/v3"/>
    <xsd:import namespace="c72baf73-1e2f-4845-a8f1-f9ebc7c339c2"/>
    <xsd:import namespace="7b7be56a-1c9f-4992-8379-7082ff57f8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4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5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2baf73-1e2f-4845-a8f1-f9ebc7c339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7be56a-1c9f-4992-8379-7082ff57f88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3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MediaServiceKeyPoints xmlns="c72baf73-1e2f-4845-a8f1-f9ebc7c339c2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02B5DD6-AF4C-4DD2-A422-E4EEE5EB64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72baf73-1e2f-4845-a8f1-f9ebc7c339c2"/>
    <ds:schemaRef ds:uri="7b7be56a-1c9f-4992-8379-7082ff57f8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2919DAB-C41F-4B36-BEA7-6F9F519B85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AA666-8188-4C8C-8515-70D7ED4AE8C5}">
  <ds:schemaRefs>
    <ds:schemaRef ds:uri="http://www.w3.org/XML/1998/namespace"/>
    <ds:schemaRef ds:uri="c72baf73-1e2f-4845-a8f1-f9ebc7c339c2"/>
    <ds:schemaRef ds:uri="http://schemas.microsoft.com/sharepoint/v3"/>
    <ds:schemaRef ds:uri="http://purl.org/dc/elements/1.1/"/>
    <ds:schemaRef ds:uri="7b7be56a-1c9f-4992-8379-7082ff57f887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6</TotalTime>
  <Words>2117</Words>
  <Application>Microsoft Office PowerPoint</Application>
  <PresentationFormat>Widescreen</PresentationFormat>
  <Paragraphs>498</Paragraphs>
  <Slides>30</Slides>
  <Notes>25</Notes>
  <HiddenSlides>3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64" baseType="lpstr">
      <vt:lpstr>Arial</vt:lpstr>
      <vt:lpstr>Avenir LT Pro 45 Book</vt:lpstr>
      <vt:lpstr>Calibri</vt:lpstr>
      <vt:lpstr>Calibri Light</vt:lpstr>
      <vt:lpstr>Consolas</vt:lpstr>
      <vt:lpstr>Courier New</vt:lpstr>
      <vt:lpstr>Quattrocento Sans</vt:lpstr>
      <vt:lpstr>Segoe Pro Semibold</vt:lpstr>
      <vt:lpstr>Segoe UI</vt:lpstr>
      <vt:lpstr>Segoe UI Light</vt:lpstr>
      <vt:lpstr>Segoe UI Light (Headings)</vt:lpstr>
      <vt:lpstr>Segoe UI Semibold</vt:lpstr>
      <vt:lpstr>Segoe UI Semilight</vt:lpstr>
      <vt:lpstr>Times New Roman</vt:lpstr>
      <vt:lpstr>Wingdings</vt:lpstr>
      <vt:lpstr>5-50113_Microsoft_Ready_Light_Template</vt:lpstr>
      <vt:lpstr>Modern DW</vt:lpstr>
      <vt:lpstr>5-50109_Microsoft_Light_Template</vt:lpstr>
      <vt:lpstr>MGXFY15</vt:lpstr>
      <vt:lpstr>Microsoft Analytics &amp; Business Intelligence Partner Airlift</vt:lpstr>
      <vt:lpstr>1_5-50113_Microsoft_Ready_Light_Template</vt:lpstr>
      <vt:lpstr>5-30629_Build_Template_WHITE</vt:lpstr>
      <vt:lpstr>2_5-50113_Microsoft_Ready_Light_Template</vt:lpstr>
      <vt:lpstr>5-50195_Microsoft_Build_Template</vt:lpstr>
      <vt:lpstr>6_5-50173_Microsoft_Ready_Light_Template</vt:lpstr>
      <vt:lpstr>Office Theme</vt:lpstr>
      <vt:lpstr>1_5-50109_Microsoft_Light_Template</vt:lpstr>
      <vt:lpstr>1_5-30629_Build_Template_WHITE</vt:lpstr>
      <vt:lpstr>1_MGXFY15</vt:lpstr>
      <vt:lpstr>Azure PPT Template - 2018</vt:lpstr>
      <vt:lpstr>5-50201_Microsoft_Ready_Template</vt:lpstr>
      <vt:lpstr>2_5-50109_Microsoft_Light_Template</vt:lpstr>
      <vt:lpstr>1_Office Theme</vt:lpstr>
      <vt:lpstr>think-cell Slide</vt:lpstr>
      <vt:lpstr>PowerPoint Presentation</vt:lpstr>
      <vt:lpstr>Ingesting Data into Azure using Azure Data Factory</vt:lpstr>
      <vt:lpstr>Tell us what you think!</vt:lpstr>
      <vt:lpstr>Agenda</vt:lpstr>
      <vt:lpstr>PowerPoint Presentation</vt:lpstr>
      <vt:lpstr>PowerPoint Presentation</vt:lpstr>
      <vt:lpstr>Lift Existing SSIS + SQL Projects to Cloud</vt:lpstr>
      <vt:lpstr>ADF Overview</vt:lpstr>
      <vt:lpstr>PowerPoint Presentation</vt:lpstr>
      <vt:lpstr>PowerPoint Presentation</vt:lpstr>
      <vt:lpstr>ADF Key Concepts</vt:lpstr>
      <vt:lpstr>PowerPoint Presentation</vt:lpstr>
      <vt:lpstr>PowerPoint Presentation</vt:lpstr>
      <vt:lpstr>Control Flow</vt:lpstr>
      <vt:lpstr>Loading Data using ADF</vt:lpstr>
      <vt:lpstr>Cloud-to-cloud Copy</vt:lpstr>
      <vt:lpstr>Hybrid Copy</vt:lpstr>
      <vt:lpstr>Advanced Performance Optimization</vt:lpstr>
      <vt:lpstr>Security</vt:lpstr>
      <vt:lpstr>PowerPoint Presentation</vt:lpstr>
      <vt:lpstr>PowerPoint Presentation</vt:lpstr>
      <vt:lpstr>Ingestion Patterns</vt:lpstr>
      <vt:lpstr>Authoring and CICD</vt:lpstr>
      <vt:lpstr>PowerPoint Presentation</vt:lpstr>
      <vt:lpstr>Data Ingestion using ADF</vt:lpstr>
      <vt:lpstr>PowerPoint Presentation</vt:lpstr>
      <vt:lpstr>Putting the “T” in “ETL”</vt:lpstr>
      <vt:lpstr>No-code Data Transformation At Scale</vt:lpstr>
      <vt:lpstr>Code-free Data Transformation At Scal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rley Wang (SQL)</dc:creator>
  <cp:lastModifiedBy>Jan Remko Yntema</cp:lastModifiedBy>
  <cp:revision>4</cp:revision>
  <dcterms:created xsi:type="dcterms:W3CDTF">2017-12-08T05:38:57Z</dcterms:created>
  <dcterms:modified xsi:type="dcterms:W3CDTF">2019-06-23T09:4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shwang@microsoft.com</vt:lpwstr>
  </property>
  <property fmtid="{D5CDD505-2E9C-101B-9397-08002B2CF9AE}" pid="5" name="MSIP_Label_f42aa342-8706-4288-bd11-ebb85995028c_SetDate">
    <vt:lpwstr>2017-12-08T05:39:38.5877114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6AF1845C9BD6AA4E98B3FD76F89FFB49</vt:lpwstr>
  </property>
  <property fmtid="{D5CDD505-2E9C-101B-9397-08002B2CF9AE}" pid="11" name="Order">
    <vt:r8>48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</Properties>
</file>